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media/image26.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2"/>
  </p:sldMasterIdLst>
  <p:notesMasterIdLst>
    <p:notesMasterId r:id="rId16"/>
  </p:notesMasterIdLst>
  <p:handoutMasterIdLst>
    <p:handoutMasterId r:id="rId17"/>
  </p:handoutMasterIdLst>
  <p:sldIdLst>
    <p:sldId id="2147376959" r:id="rId3"/>
    <p:sldId id="2134804638" r:id="rId4"/>
    <p:sldId id="2134804589" r:id="rId5"/>
    <p:sldId id="2134804505" r:id="rId6"/>
    <p:sldId id="2134804643" r:id="rId7"/>
    <p:sldId id="2134804504" r:id="rId8"/>
    <p:sldId id="2147376966" r:id="rId9"/>
    <p:sldId id="2147376968" r:id="rId10"/>
    <p:sldId id="2147376967" r:id="rId11"/>
    <p:sldId id="4597" r:id="rId12"/>
    <p:sldId id="2147376965" r:id="rId13"/>
    <p:sldId id="318" r:id="rId14"/>
    <p:sldId id="358"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9F9F56-D569-46E5-9D64-1C428DFE888D}">
          <p14:sldIdLst>
            <p14:sldId id="2147376959"/>
            <p14:sldId id="2134804638"/>
            <p14:sldId id="2134804589"/>
            <p14:sldId id="2134804505"/>
            <p14:sldId id="2134804643"/>
            <p14:sldId id="2134804504"/>
            <p14:sldId id="2147376966"/>
            <p14:sldId id="2147376968"/>
            <p14:sldId id="2147376967"/>
            <p14:sldId id="4597"/>
            <p14:sldId id="2147376965"/>
            <p14:sldId id="318"/>
            <p14:sldId id="358"/>
          </p14:sldIdLst>
        </p14:section>
      </p14:sectionLst>
    </p:ext>
    <p:ext uri="{EFAFB233-063F-42B5-8137-9DF3F51BA10A}">
      <p15:sldGuideLst xmlns:p15="http://schemas.microsoft.com/office/powerpoint/2012/main">
        <p15:guide id="1" pos="3840" userDrawn="1">
          <p15:clr>
            <a:srgbClr val="A4A3A4"/>
          </p15:clr>
        </p15:guide>
        <p15:guide id="2"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50A100-C51D-63BF-74F9-DA691F1741AF}" name="Fiorentino, Vincenzo (DI PA DCP IWA)" initials="FV(PDI" userId="S::vincenzo.fiorentino@siemens.com::bd1860b4-de89-4607-82bb-4f04219be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2C8"/>
    <a:srgbClr val="DFDFD9"/>
    <a:srgbClr val="FFBC66"/>
    <a:srgbClr val="009C41"/>
    <a:srgbClr val="000000"/>
    <a:srgbClr val="4EFF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F2DA64-4A59-4EB1-80C9-6C8B92288DA2}" v="165" dt="2023-04-06T09:39:46.869"/>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10" autoAdjust="0"/>
    <p:restoredTop sz="89007" autoAdjust="0"/>
  </p:normalViewPr>
  <p:slideViewPr>
    <p:cSldViewPr snapToGrid="0" showGuides="1">
      <p:cViewPr varScale="1">
        <p:scale>
          <a:sx n="137" d="100"/>
          <a:sy n="137" d="100"/>
        </p:scale>
        <p:origin x="3702" y="114"/>
      </p:cViewPr>
      <p:guideLst>
        <p:guide pos="3840"/>
        <p:guide orient="horz" pos="218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121" d="100"/>
          <a:sy n="121" d="100"/>
        </p:scale>
        <p:origin x="4188"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pulainen, Teemu (RC-FI DI PA)" userId="9e6db126-282e-46a7-b7b4-e4a6760ecd8a" providerId="ADAL" clId="{69F2DA64-4A59-4EB1-80C9-6C8B92288DA2}"/>
    <pc:docChg chg="undo custSel addSld delSld modSld sldOrd modMainMaster delSection modSection replTag">
      <pc:chgData name="Kumpulainen, Teemu (RC-FI DI PA)" userId="9e6db126-282e-46a7-b7b4-e4a6760ecd8a" providerId="ADAL" clId="{69F2DA64-4A59-4EB1-80C9-6C8B92288DA2}" dt="2023-04-14T10:38:17.150" v="2619" actId="20577"/>
      <pc:docMkLst>
        <pc:docMk/>
      </pc:docMkLst>
      <pc:sldChg chg="modSp mod modNotes">
        <pc:chgData name="Kumpulainen, Teemu (RC-FI DI PA)" userId="9e6db126-282e-46a7-b7b4-e4a6760ecd8a" providerId="ADAL" clId="{69F2DA64-4A59-4EB1-80C9-6C8B92288DA2}" dt="2023-04-04T10:38:05.689" v="1536" actId="790"/>
        <pc:sldMkLst>
          <pc:docMk/>
          <pc:sldMk cId="1816175202" sldId="318"/>
        </pc:sldMkLst>
        <pc:spChg chg="mod">
          <ac:chgData name="Kumpulainen, Teemu (RC-FI DI PA)" userId="9e6db126-282e-46a7-b7b4-e4a6760ecd8a" providerId="ADAL" clId="{69F2DA64-4A59-4EB1-80C9-6C8B92288DA2}" dt="2023-04-04T10:38:05.686" v="1532" actId="790"/>
          <ac:spMkLst>
            <pc:docMk/>
            <pc:sldMk cId="1816175202" sldId="318"/>
            <ac:spMk id="2" creationId="{64C39669-E828-4962-91D0-C42AA387BAFC}"/>
          </ac:spMkLst>
        </pc:spChg>
        <pc:spChg chg="mod">
          <ac:chgData name="Kumpulainen, Teemu (RC-FI DI PA)" userId="9e6db126-282e-46a7-b7b4-e4a6760ecd8a" providerId="ADAL" clId="{69F2DA64-4A59-4EB1-80C9-6C8B92288DA2}" dt="2023-04-04T10:38:05.686" v="1533" actId="790"/>
          <ac:spMkLst>
            <pc:docMk/>
            <pc:sldMk cId="1816175202" sldId="318"/>
            <ac:spMk id="4" creationId="{73385584-A393-45DC-99D9-61431F2C7BAB}"/>
          </ac:spMkLst>
        </pc:spChg>
        <pc:spChg chg="mod">
          <ac:chgData name="Kumpulainen, Teemu (RC-FI DI PA)" userId="9e6db126-282e-46a7-b7b4-e4a6760ecd8a" providerId="ADAL" clId="{69F2DA64-4A59-4EB1-80C9-6C8B92288DA2}" dt="2023-04-04T10:38:05.681" v="1530" actId="790"/>
          <ac:spMkLst>
            <pc:docMk/>
            <pc:sldMk cId="1816175202" sldId="318"/>
            <ac:spMk id="5" creationId="{00000000-0000-0000-0000-000000000000}"/>
          </ac:spMkLst>
        </pc:spChg>
        <pc:spChg chg="mod">
          <ac:chgData name="Kumpulainen, Teemu (RC-FI DI PA)" userId="9e6db126-282e-46a7-b7b4-e4a6760ecd8a" providerId="ADAL" clId="{69F2DA64-4A59-4EB1-80C9-6C8B92288DA2}" dt="2023-04-04T10:38:05.685" v="1531" actId="790"/>
          <ac:spMkLst>
            <pc:docMk/>
            <pc:sldMk cId="1816175202" sldId="318"/>
            <ac:spMk id="8" creationId="{00000000-0000-0000-0000-000000000000}"/>
          </ac:spMkLst>
        </pc:spChg>
      </pc:sldChg>
      <pc:sldChg chg="modSp mod modNotes">
        <pc:chgData name="Kumpulainen, Teemu (RC-FI DI PA)" userId="9e6db126-282e-46a7-b7b4-e4a6760ecd8a" providerId="ADAL" clId="{69F2DA64-4A59-4EB1-80C9-6C8B92288DA2}" dt="2023-04-14T10:38:17.150" v="2619" actId="20577"/>
        <pc:sldMkLst>
          <pc:docMk/>
          <pc:sldMk cId="2435204155" sldId="358"/>
        </pc:sldMkLst>
        <pc:spChg chg="mod">
          <ac:chgData name="Kumpulainen, Teemu (RC-FI DI PA)" userId="9e6db126-282e-46a7-b7b4-e4a6760ecd8a" providerId="ADAL" clId="{69F2DA64-4A59-4EB1-80C9-6C8B92288DA2}" dt="2023-04-04T10:38:05.693" v="1539" actId="790"/>
          <ac:spMkLst>
            <pc:docMk/>
            <pc:sldMk cId="2435204155" sldId="358"/>
            <ac:spMk id="2" creationId="{C9CEF81D-3B55-47E5-94B9-C519906E5A08}"/>
          </ac:spMkLst>
        </pc:spChg>
        <pc:spChg chg="mod">
          <ac:chgData name="Kumpulainen, Teemu (RC-FI DI PA)" userId="9e6db126-282e-46a7-b7b4-e4a6760ecd8a" providerId="ADAL" clId="{69F2DA64-4A59-4EB1-80C9-6C8B92288DA2}" dt="2023-04-14T10:38:17.150" v="2619" actId="20577"/>
          <ac:spMkLst>
            <pc:docMk/>
            <pc:sldMk cId="2435204155" sldId="358"/>
            <ac:spMk id="3" creationId="{536CB846-BF47-4D54-AA64-A816E2B1BA57}"/>
          </ac:spMkLst>
        </pc:spChg>
        <pc:spChg chg="mod">
          <ac:chgData name="Kumpulainen, Teemu (RC-FI DI PA)" userId="9e6db126-282e-46a7-b7b4-e4a6760ecd8a" providerId="ADAL" clId="{69F2DA64-4A59-4EB1-80C9-6C8B92288DA2}" dt="2023-04-04T10:38:05.696" v="1541" actId="790"/>
          <ac:spMkLst>
            <pc:docMk/>
            <pc:sldMk cId="2435204155" sldId="358"/>
            <ac:spMk id="5" creationId="{8DB1DAF3-971A-4A20-8FEB-5F5A28F00306}"/>
          </ac:spMkLst>
        </pc:spChg>
        <pc:spChg chg="mod">
          <ac:chgData name="Kumpulainen, Teemu (RC-FI DI PA)" userId="9e6db126-282e-46a7-b7b4-e4a6760ecd8a" providerId="ADAL" clId="{69F2DA64-4A59-4EB1-80C9-6C8B92288DA2}" dt="2023-04-04T10:38:05.697" v="1542" actId="790"/>
          <ac:spMkLst>
            <pc:docMk/>
            <pc:sldMk cId="2435204155" sldId="358"/>
            <ac:spMk id="6" creationId="{17897DA8-7A08-4EF8-944B-5DB5E561F896}"/>
          </ac:spMkLst>
        </pc:spChg>
      </pc:sldChg>
      <pc:sldChg chg="modSp mod chgLayout">
        <pc:chgData name="Kumpulainen, Teemu (RC-FI DI PA)" userId="9e6db126-282e-46a7-b7b4-e4a6760ecd8a" providerId="ADAL" clId="{69F2DA64-4A59-4EB1-80C9-6C8B92288DA2}" dt="2023-04-04T11:13:28.158" v="1576" actId="700"/>
        <pc:sldMkLst>
          <pc:docMk/>
          <pc:sldMk cId="1763015144" sldId="4597"/>
        </pc:sldMkLst>
        <pc:spChg chg="mod ord">
          <ac:chgData name="Kumpulainen, Teemu (RC-FI DI PA)" userId="9e6db126-282e-46a7-b7b4-e4a6760ecd8a" providerId="ADAL" clId="{69F2DA64-4A59-4EB1-80C9-6C8B92288DA2}" dt="2023-04-04T11:13:28.158" v="1576" actId="700"/>
          <ac:spMkLst>
            <pc:docMk/>
            <pc:sldMk cId="1763015144" sldId="4597"/>
            <ac:spMk id="2" creationId="{7E72F99A-B62C-4A6E-94FC-2A2400478220}"/>
          </ac:spMkLst>
        </pc:spChg>
        <pc:spChg chg="mod ord">
          <ac:chgData name="Kumpulainen, Teemu (RC-FI DI PA)" userId="9e6db126-282e-46a7-b7b4-e4a6760ecd8a" providerId="ADAL" clId="{69F2DA64-4A59-4EB1-80C9-6C8B92288DA2}" dt="2023-04-04T11:13:28.158" v="1576" actId="700"/>
          <ac:spMkLst>
            <pc:docMk/>
            <pc:sldMk cId="1763015144" sldId="4597"/>
            <ac:spMk id="4" creationId="{E958610B-4A61-47EB-92DE-E71069924DDF}"/>
          </ac:spMkLst>
        </pc:spChg>
        <pc:spChg chg="mod">
          <ac:chgData name="Kumpulainen, Teemu (RC-FI DI PA)" userId="9e6db126-282e-46a7-b7b4-e4a6760ecd8a" providerId="ADAL" clId="{69F2DA64-4A59-4EB1-80C9-6C8B92288DA2}" dt="2023-04-04T10:38:05.591" v="1502"/>
          <ac:spMkLst>
            <pc:docMk/>
            <pc:sldMk cId="1763015144" sldId="4597"/>
            <ac:spMk id="7" creationId="{E5C243E5-988F-4506-9602-771846173C46}"/>
          </ac:spMkLst>
        </pc:spChg>
        <pc:spChg chg="mod ord">
          <ac:chgData name="Kumpulainen, Teemu (RC-FI DI PA)" userId="9e6db126-282e-46a7-b7b4-e4a6760ecd8a" providerId="ADAL" clId="{69F2DA64-4A59-4EB1-80C9-6C8B92288DA2}" dt="2023-04-04T11:13:28.158" v="1576" actId="700"/>
          <ac:spMkLst>
            <pc:docMk/>
            <pc:sldMk cId="1763015144" sldId="4597"/>
            <ac:spMk id="10" creationId="{5DAD2872-31D7-40E4-A661-DDC6C1E30F10}"/>
          </ac:spMkLst>
        </pc:spChg>
        <pc:spChg chg="mod">
          <ac:chgData name="Kumpulainen, Teemu (RC-FI DI PA)" userId="9e6db126-282e-46a7-b7b4-e4a6760ecd8a" providerId="ADAL" clId="{69F2DA64-4A59-4EB1-80C9-6C8B92288DA2}" dt="2023-04-04T10:38:05.591" v="1501" actId="790"/>
          <ac:spMkLst>
            <pc:docMk/>
            <pc:sldMk cId="1763015144" sldId="4597"/>
            <ac:spMk id="12" creationId="{393D759C-CC8F-4FDC-B0CE-89D19C6DF121}"/>
          </ac:spMkLst>
        </pc:spChg>
        <pc:graphicFrameChg chg="modGraphic">
          <ac:chgData name="Kumpulainen, Teemu (RC-FI DI PA)" userId="9e6db126-282e-46a7-b7b4-e4a6760ecd8a" providerId="ADAL" clId="{69F2DA64-4A59-4EB1-80C9-6C8B92288DA2}" dt="2023-04-04T10:38:05.600" v="1509" actId="790"/>
          <ac:graphicFrameMkLst>
            <pc:docMk/>
            <pc:sldMk cId="1763015144" sldId="4597"/>
            <ac:graphicFrameMk id="15" creationId="{318846CC-6814-4EFE-A904-64A6BA2E6D78}"/>
          </ac:graphicFrameMkLst>
        </pc:graphicFrameChg>
      </pc:sldChg>
      <pc:sldChg chg="modSp del mod modNotes">
        <pc:chgData name="Kumpulainen, Teemu (RC-FI DI PA)" userId="9e6db126-282e-46a7-b7b4-e4a6760ecd8a" providerId="ADAL" clId="{69F2DA64-4A59-4EB1-80C9-6C8B92288DA2}" dt="2023-04-04T10:40:07.606" v="1566" actId="47"/>
        <pc:sldMkLst>
          <pc:docMk/>
          <pc:sldMk cId="1244129058" sldId="4676"/>
        </pc:sldMkLst>
        <pc:spChg chg="mod">
          <ac:chgData name="Kumpulainen, Teemu (RC-FI DI PA)" userId="9e6db126-282e-46a7-b7b4-e4a6760ecd8a" providerId="ADAL" clId="{69F2DA64-4A59-4EB1-80C9-6C8B92288DA2}" dt="2023-04-04T10:38:05.703" v="1547" actId="790"/>
          <ac:spMkLst>
            <pc:docMk/>
            <pc:sldMk cId="1244129058" sldId="4676"/>
            <ac:spMk id="4" creationId="{BEF9C72D-0D77-4596-8A41-53AB1A081722}"/>
          </ac:spMkLst>
        </pc:spChg>
        <pc:spChg chg="mod">
          <ac:chgData name="Kumpulainen, Teemu (RC-FI DI PA)" userId="9e6db126-282e-46a7-b7b4-e4a6760ecd8a" providerId="ADAL" clId="{69F2DA64-4A59-4EB1-80C9-6C8B92288DA2}" dt="2023-04-04T10:38:05.706" v="1550" actId="790"/>
          <ac:spMkLst>
            <pc:docMk/>
            <pc:sldMk cId="1244129058" sldId="4676"/>
            <ac:spMk id="5" creationId="{C99082D1-F0A2-7783-D447-CD182D2224FE}"/>
          </ac:spMkLst>
        </pc:spChg>
        <pc:spChg chg="mod">
          <ac:chgData name="Kumpulainen, Teemu (RC-FI DI PA)" userId="9e6db126-282e-46a7-b7b4-e4a6760ecd8a" providerId="ADAL" clId="{69F2DA64-4A59-4EB1-80C9-6C8B92288DA2}" dt="2023-04-04T10:38:05.703" v="1548" actId="790"/>
          <ac:spMkLst>
            <pc:docMk/>
            <pc:sldMk cId="1244129058" sldId="4676"/>
            <ac:spMk id="6" creationId="{7DBA8F14-CFD0-4706-B0EE-C2E416F4511D}"/>
          </ac:spMkLst>
        </pc:spChg>
        <pc:spChg chg="mod">
          <ac:chgData name="Kumpulainen, Teemu (RC-FI DI PA)" userId="9e6db126-282e-46a7-b7b4-e4a6760ecd8a" providerId="ADAL" clId="{69F2DA64-4A59-4EB1-80C9-6C8B92288DA2}" dt="2023-04-04T10:38:05.705" v="1549" actId="790"/>
          <ac:spMkLst>
            <pc:docMk/>
            <pc:sldMk cId="1244129058" sldId="4676"/>
            <ac:spMk id="15" creationId="{C176FDDE-4136-46BD-A2EC-2B4DDD3B87F5}"/>
          </ac:spMkLst>
        </pc:spChg>
      </pc:sldChg>
      <pc:sldChg chg="modSp del mod modNotes">
        <pc:chgData name="Kumpulainen, Teemu (RC-FI DI PA)" userId="9e6db126-282e-46a7-b7b4-e4a6760ecd8a" providerId="ADAL" clId="{69F2DA64-4A59-4EB1-80C9-6C8B92288DA2}" dt="2023-04-04T10:39:48.403" v="1562" actId="47"/>
        <pc:sldMkLst>
          <pc:docMk/>
          <pc:sldMk cId="2125317811" sldId="2134804485"/>
        </pc:sldMkLst>
        <pc:spChg chg="mod">
          <ac:chgData name="Kumpulainen, Teemu (RC-FI DI PA)" userId="9e6db126-282e-46a7-b7b4-e4a6760ecd8a" providerId="ADAL" clId="{69F2DA64-4A59-4EB1-80C9-6C8B92288DA2}" dt="2023-04-04T10:38:04.937" v="716" actId="790"/>
          <ac:spMkLst>
            <pc:docMk/>
            <pc:sldMk cId="2125317811" sldId="2134804485"/>
            <ac:spMk id="2" creationId="{E577FA38-560F-4A10-8607-EEA98B40A9CB}"/>
          </ac:spMkLst>
        </pc:spChg>
        <pc:spChg chg="mod">
          <ac:chgData name="Kumpulainen, Teemu (RC-FI DI PA)" userId="9e6db126-282e-46a7-b7b4-e4a6760ecd8a" providerId="ADAL" clId="{69F2DA64-4A59-4EB1-80C9-6C8B92288DA2}" dt="2023-04-04T10:38:04.956" v="747" actId="790"/>
          <ac:spMkLst>
            <pc:docMk/>
            <pc:sldMk cId="2125317811" sldId="2134804485"/>
            <ac:spMk id="4" creationId="{198695E2-D6C0-464B-8441-05257327F5FE}"/>
          </ac:spMkLst>
        </pc:spChg>
        <pc:spChg chg="mod">
          <ac:chgData name="Kumpulainen, Teemu (RC-FI DI PA)" userId="9e6db126-282e-46a7-b7b4-e4a6760ecd8a" providerId="ADAL" clId="{69F2DA64-4A59-4EB1-80C9-6C8B92288DA2}" dt="2023-04-04T10:38:04.938" v="717" actId="790"/>
          <ac:spMkLst>
            <pc:docMk/>
            <pc:sldMk cId="2125317811" sldId="2134804485"/>
            <ac:spMk id="5" creationId="{4A5DD4E8-6A39-403C-85BA-A067DA8BF2E6}"/>
          </ac:spMkLst>
        </pc:spChg>
        <pc:spChg chg="mod">
          <ac:chgData name="Kumpulainen, Teemu (RC-FI DI PA)" userId="9e6db126-282e-46a7-b7b4-e4a6760ecd8a" providerId="ADAL" clId="{69F2DA64-4A59-4EB1-80C9-6C8B92288DA2}" dt="2023-04-04T10:38:04.939" v="718" actId="790"/>
          <ac:spMkLst>
            <pc:docMk/>
            <pc:sldMk cId="2125317811" sldId="2134804485"/>
            <ac:spMk id="6" creationId="{FCD7D638-7891-48BD-BCEC-750ED5A5C510}"/>
          </ac:spMkLst>
        </pc:spChg>
        <pc:spChg chg="mod">
          <ac:chgData name="Kumpulainen, Teemu (RC-FI DI PA)" userId="9e6db126-282e-46a7-b7b4-e4a6760ecd8a" providerId="ADAL" clId="{69F2DA64-4A59-4EB1-80C9-6C8B92288DA2}" dt="2023-04-04T10:38:04.939" v="719" actId="790"/>
          <ac:spMkLst>
            <pc:docMk/>
            <pc:sldMk cId="2125317811" sldId="2134804485"/>
            <ac:spMk id="7" creationId="{6C447A63-4884-440A-B696-ABCEF47F33CA}"/>
          </ac:spMkLst>
        </pc:spChg>
        <pc:spChg chg="mod">
          <ac:chgData name="Kumpulainen, Teemu (RC-FI DI PA)" userId="9e6db126-282e-46a7-b7b4-e4a6760ecd8a" providerId="ADAL" clId="{69F2DA64-4A59-4EB1-80C9-6C8B92288DA2}" dt="2023-04-04T10:38:04.940" v="720" actId="790"/>
          <ac:spMkLst>
            <pc:docMk/>
            <pc:sldMk cId="2125317811" sldId="2134804485"/>
            <ac:spMk id="8" creationId="{F44EFAA3-5BBB-4E18-AE84-22FEFD23EEF1}"/>
          </ac:spMkLst>
        </pc:spChg>
        <pc:spChg chg="mod">
          <ac:chgData name="Kumpulainen, Teemu (RC-FI DI PA)" userId="9e6db126-282e-46a7-b7b4-e4a6760ecd8a" providerId="ADAL" clId="{69F2DA64-4A59-4EB1-80C9-6C8B92288DA2}" dt="2023-04-04T10:38:04.940" v="721" actId="790"/>
          <ac:spMkLst>
            <pc:docMk/>
            <pc:sldMk cId="2125317811" sldId="2134804485"/>
            <ac:spMk id="9" creationId="{9392E6EE-3DE7-4318-8AE0-72E025E4D418}"/>
          </ac:spMkLst>
        </pc:spChg>
        <pc:spChg chg="mod">
          <ac:chgData name="Kumpulainen, Teemu (RC-FI DI PA)" userId="9e6db126-282e-46a7-b7b4-e4a6760ecd8a" providerId="ADAL" clId="{69F2DA64-4A59-4EB1-80C9-6C8B92288DA2}" dt="2023-04-04T10:38:04.940" v="722" actId="790"/>
          <ac:spMkLst>
            <pc:docMk/>
            <pc:sldMk cId="2125317811" sldId="2134804485"/>
            <ac:spMk id="10" creationId="{4B3DA263-4403-4B0D-B745-1C9FD3EAC3A6}"/>
          </ac:spMkLst>
        </pc:spChg>
        <pc:spChg chg="mod">
          <ac:chgData name="Kumpulainen, Teemu (RC-FI DI PA)" userId="9e6db126-282e-46a7-b7b4-e4a6760ecd8a" providerId="ADAL" clId="{69F2DA64-4A59-4EB1-80C9-6C8B92288DA2}" dt="2023-04-04T10:38:04.941" v="723" actId="790"/>
          <ac:spMkLst>
            <pc:docMk/>
            <pc:sldMk cId="2125317811" sldId="2134804485"/>
            <ac:spMk id="11" creationId="{54414BC3-6765-4913-B9D2-B3FDD26BFDC6}"/>
          </ac:spMkLst>
        </pc:spChg>
        <pc:spChg chg="mod">
          <ac:chgData name="Kumpulainen, Teemu (RC-FI DI PA)" userId="9e6db126-282e-46a7-b7b4-e4a6760ecd8a" providerId="ADAL" clId="{69F2DA64-4A59-4EB1-80C9-6C8B92288DA2}" dt="2023-04-04T10:38:04.941" v="724" actId="790"/>
          <ac:spMkLst>
            <pc:docMk/>
            <pc:sldMk cId="2125317811" sldId="2134804485"/>
            <ac:spMk id="12" creationId="{5830D585-092B-4CD3-8761-EBC6E3DCAADB}"/>
          </ac:spMkLst>
        </pc:spChg>
        <pc:spChg chg="mod">
          <ac:chgData name="Kumpulainen, Teemu (RC-FI DI PA)" userId="9e6db126-282e-46a7-b7b4-e4a6760ecd8a" providerId="ADAL" clId="{69F2DA64-4A59-4EB1-80C9-6C8B92288DA2}" dt="2023-04-04T10:38:04.942" v="725" actId="790"/>
          <ac:spMkLst>
            <pc:docMk/>
            <pc:sldMk cId="2125317811" sldId="2134804485"/>
            <ac:spMk id="13" creationId="{80E94B3C-1D4A-48E4-B0E9-8EF40A838720}"/>
          </ac:spMkLst>
        </pc:spChg>
        <pc:spChg chg="mod">
          <ac:chgData name="Kumpulainen, Teemu (RC-FI DI PA)" userId="9e6db126-282e-46a7-b7b4-e4a6760ecd8a" providerId="ADAL" clId="{69F2DA64-4A59-4EB1-80C9-6C8B92288DA2}" dt="2023-04-04T10:38:04.942" v="726" actId="790"/>
          <ac:spMkLst>
            <pc:docMk/>
            <pc:sldMk cId="2125317811" sldId="2134804485"/>
            <ac:spMk id="14" creationId="{381783A9-ECA0-4A8A-A337-B169A1A2B950}"/>
          </ac:spMkLst>
        </pc:spChg>
        <pc:spChg chg="mod">
          <ac:chgData name="Kumpulainen, Teemu (RC-FI DI PA)" userId="9e6db126-282e-46a7-b7b4-e4a6760ecd8a" providerId="ADAL" clId="{69F2DA64-4A59-4EB1-80C9-6C8B92288DA2}" dt="2023-04-04T10:38:04.943" v="727" actId="790"/>
          <ac:spMkLst>
            <pc:docMk/>
            <pc:sldMk cId="2125317811" sldId="2134804485"/>
            <ac:spMk id="15" creationId="{8F6FD43A-5E98-4E8A-8E64-46E2B219B167}"/>
          </ac:spMkLst>
        </pc:spChg>
        <pc:spChg chg="mod">
          <ac:chgData name="Kumpulainen, Teemu (RC-FI DI PA)" userId="9e6db126-282e-46a7-b7b4-e4a6760ecd8a" providerId="ADAL" clId="{69F2DA64-4A59-4EB1-80C9-6C8B92288DA2}" dt="2023-04-04T10:38:04.943" v="728" actId="790"/>
          <ac:spMkLst>
            <pc:docMk/>
            <pc:sldMk cId="2125317811" sldId="2134804485"/>
            <ac:spMk id="16" creationId="{666B3129-EDAE-49F9-98C1-7BB2E9D54677}"/>
          </ac:spMkLst>
        </pc:spChg>
        <pc:spChg chg="mod">
          <ac:chgData name="Kumpulainen, Teemu (RC-FI DI PA)" userId="9e6db126-282e-46a7-b7b4-e4a6760ecd8a" providerId="ADAL" clId="{69F2DA64-4A59-4EB1-80C9-6C8B92288DA2}" dt="2023-04-04T10:38:04.944" v="729" actId="790"/>
          <ac:spMkLst>
            <pc:docMk/>
            <pc:sldMk cId="2125317811" sldId="2134804485"/>
            <ac:spMk id="17" creationId="{F7747480-A11C-45C3-889C-A56B3C342514}"/>
          </ac:spMkLst>
        </pc:spChg>
        <pc:spChg chg="mod">
          <ac:chgData name="Kumpulainen, Teemu (RC-FI DI PA)" userId="9e6db126-282e-46a7-b7b4-e4a6760ecd8a" providerId="ADAL" clId="{69F2DA64-4A59-4EB1-80C9-6C8B92288DA2}" dt="2023-04-04T10:38:04.945" v="730" actId="790"/>
          <ac:spMkLst>
            <pc:docMk/>
            <pc:sldMk cId="2125317811" sldId="2134804485"/>
            <ac:spMk id="18" creationId="{5F684210-E8E7-4DA6-BAE2-EDEC9EDF1EFC}"/>
          </ac:spMkLst>
        </pc:spChg>
        <pc:spChg chg="mod">
          <ac:chgData name="Kumpulainen, Teemu (RC-FI DI PA)" userId="9e6db126-282e-46a7-b7b4-e4a6760ecd8a" providerId="ADAL" clId="{69F2DA64-4A59-4EB1-80C9-6C8B92288DA2}" dt="2023-04-04T10:38:04.945" v="731" actId="790"/>
          <ac:spMkLst>
            <pc:docMk/>
            <pc:sldMk cId="2125317811" sldId="2134804485"/>
            <ac:spMk id="19" creationId="{00438485-5EE6-4DB2-813B-035C967BF44C}"/>
          </ac:spMkLst>
        </pc:spChg>
        <pc:spChg chg="mod">
          <ac:chgData name="Kumpulainen, Teemu (RC-FI DI PA)" userId="9e6db126-282e-46a7-b7b4-e4a6760ecd8a" providerId="ADAL" clId="{69F2DA64-4A59-4EB1-80C9-6C8B92288DA2}" dt="2023-04-04T10:38:04.946" v="732" actId="790"/>
          <ac:spMkLst>
            <pc:docMk/>
            <pc:sldMk cId="2125317811" sldId="2134804485"/>
            <ac:spMk id="20" creationId="{285D6F69-328C-4132-BDB7-331484A6B1F6}"/>
          </ac:spMkLst>
        </pc:spChg>
        <pc:spChg chg="mod">
          <ac:chgData name="Kumpulainen, Teemu (RC-FI DI PA)" userId="9e6db126-282e-46a7-b7b4-e4a6760ecd8a" providerId="ADAL" clId="{69F2DA64-4A59-4EB1-80C9-6C8B92288DA2}" dt="2023-04-04T10:38:04.947" v="733" actId="790"/>
          <ac:spMkLst>
            <pc:docMk/>
            <pc:sldMk cId="2125317811" sldId="2134804485"/>
            <ac:spMk id="21" creationId="{8B09111A-6A96-4B06-9EC1-E4BC195595C1}"/>
          </ac:spMkLst>
        </pc:spChg>
        <pc:spChg chg="mod">
          <ac:chgData name="Kumpulainen, Teemu (RC-FI DI PA)" userId="9e6db126-282e-46a7-b7b4-e4a6760ecd8a" providerId="ADAL" clId="{69F2DA64-4A59-4EB1-80C9-6C8B92288DA2}" dt="2023-04-04T10:38:04.948" v="734" actId="790"/>
          <ac:spMkLst>
            <pc:docMk/>
            <pc:sldMk cId="2125317811" sldId="2134804485"/>
            <ac:spMk id="22" creationId="{D45F41E8-73E6-4967-A8FF-B63C6853E4B0}"/>
          </ac:spMkLst>
        </pc:spChg>
        <pc:spChg chg="mod">
          <ac:chgData name="Kumpulainen, Teemu (RC-FI DI PA)" userId="9e6db126-282e-46a7-b7b4-e4a6760ecd8a" providerId="ADAL" clId="{69F2DA64-4A59-4EB1-80C9-6C8B92288DA2}" dt="2023-04-04T10:38:04.949" v="735" actId="790"/>
          <ac:spMkLst>
            <pc:docMk/>
            <pc:sldMk cId="2125317811" sldId="2134804485"/>
            <ac:spMk id="23" creationId="{FEB247A3-21C6-4D23-821B-D5E83A76B981}"/>
          </ac:spMkLst>
        </pc:spChg>
        <pc:spChg chg="mod">
          <ac:chgData name="Kumpulainen, Teemu (RC-FI DI PA)" userId="9e6db126-282e-46a7-b7b4-e4a6760ecd8a" providerId="ADAL" clId="{69F2DA64-4A59-4EB1-80C9-6C8B92288DA2}" dt="2023-04-04T10:38:04.950" v="736" actId="790"/>
          <ac:spMkLst>
            <pc:docMk/>
            <pc:sldMk cId="2125317811" sldId="2134804485"/>
            <ac:spMk id="24" creationId="{92BF54D9-52DA-4490-9A14-AF9453AF89ED}"/>
          </ac:spMkLst>
        </pc:spChg>
        <pc:spChg chg="mod">
          <ac:chgData name="Kumpulainen, Teemu (RC-FI DI PA)" userId="9e6db126-282e-46a7-b7b4-e4a6760ecd8a" providerId="ADAL" clId="{69F2DA64-4A59-4EB1-80C9-6C8B92288DA2}" dt="2023-04-04T10:38:04.951" v="737" actId="790"/>
          <ac:spMkLst>
            <pc:docMk/>
            <pc:sldMk cId="2125317811" sldId="2134804485"/>
            <ac:spMk id="25" creationId="{D6CDB2DF-838F-48E1-B44D-D1DB90A05168}"/>
          </ac:spMkLst>
        </pc:spChg>
        <pc:spChg chg="mod">
          <ac:chgData name="Kumpulainen, Teemu (RC-FI DI PA)" userId="9e6db126-282e-46a7-b7b4-e4a6760ecd8a" providerId="ADAL" clId="{69F2DA64-4A59-4EB1-80C9-6C8B92288DA2}" dt="2023-04-04T10:38:04.957" v="748" actId="790"/>
          <ac:spMkLst>
            <pc:docMk/>
            <pc:sldMk cId="2125317811" sldId="2134804485"/>
            <ac:spMk id="26" creationId="{585DC0C5-A436-44D0-8735-8E1E784FF3DE}"/>
          </ac:spMkLst>
        </pc:spChg>
        <pc:spChg chg="mod">
          <ac:chgData name="Kumpulainen, Teemu (RC-FI DI PA)" userId="9e6db126-282e-46a7-b7b4-e4a6760ecd8a" providerId="ADAL" clId="{69F2DA64-4A59-4EB1-80C9-6C8B92288DA2}" dt="2023-04-04T10:38:04.957" v="749" actId="790"/>
          <ac:spMkLst>
            <pc:docMk/>
            <pc:sldMk cId="2125317811" sldId="2134804485"/>
            <ac:spMk id="27" creationId="{74D4616A-5D89-497C-A357-75D070B807C0}"/>
          </ac:spMkLst>
        </pc:spChg>
        <pc:spChg chg="mod">
          <ac:chgData name="Kumpulainen, Teemu (RC-FI DI PA)" userId="9e6db126-282e-46a7-b7b4-e4a6760ecd8a" providerId="ADAL" clId="{69F2DA64-4A59-4EB1-80C9-6C8B92288DA2}" dt="2023-04-04T10:38:04.951" v="738" actId="790"/>
          <ac:spMkLst>
            <pc:docMk/>
            <pc:sldMk cId="2125317811" sldId="2134804485"/>
            <ac:spMk id="36" creationId="{9BEF8E67-F077-470C-A121-49B3518B5F6F}"/>
          </ac:spMkLst>
        </pc:spChg>
        <pc:spChg chg="mod">
          <ac:chgData name="Kumpulainen, Teemu (RC-FI DI PA)" userId="9e6db126-282e-46a7-b7b4-e4a6760ecd8a" providerId="ADAL" clId="{69F2DA64-4A59-4EB1-80C9-6C8B92288DA2}" dt="2023-04-04T10:38:04.952" v="739" actId="790"/>
          <ac:spMkLst>
            <pc:docMk/>
            <pc:sldMk cId="2125317811" sldId="2134804485"/>
            <ac:spMk id="37" creationId="{1F955524-5050-4584-8331-0C0F4198E4B7}"/>
          </ac:spMkLst>
        </pc:spChg>
        <pc:spChg chg="mod">
          <ac:chgData name="Kumpulainen, Teemu (RC-FI DI PA)" userId="9e6db126-282e-46a7-b7b4-e4a6760ecd8a" providerId="ADAL" clId="{69F2DA64-4A59-4EB1-80C9-6C8B92288DA2}" dt="2023-04-04T10:38:04.952" v="740" actId="790"/>
          <ac:spMkLst>
            <pc:docMk/>
            <pc:sldMk cId="2125317811" sldId="2134804485"/>
            <ac:spMk id="38" creationId="{7E0B613E-E4AC-4CA9-9B38-7F1065156940}"/>
          </ac:spMkLst>
        </pc:spChg>
        <pc:spChg chg="mod">
          <ac:chgData name="Kumpulainen, Teemu (RC-FI DI PA)" userId="9e6db126-282e-46a7-b7b4-e4a6760ecd8a" providerId="ADAL" clId="{69F2DA64-4A59-4EB1-80C9-6C8B92288DA2}" dt="2023-04-04T10:38:04.953" v="741" actId="790"/>
          <ac:spMkLst>
            <pc:docMk/>
            <pc:sldMk cId="2125317811" sldId="2134804485"/>
            <ac:spMk id="39" creationId="{7AF33940-94D8-4DF0-962B-D28D636621FE}"/>
          </ac:spMkLst>
        </pc:spChg>
        <pc:spChg chg="mod">
          <ac:chgData name="Kumpulainen, Teemu (RC-FI DI PA)" userId="9e6db126-282e-46a7-b7b4-e4a6760ecd8a" providerId="ADAL" clId="{69F2DA64-4A59-4EB1-80C9-6C8B92288DA2}" dt="2023-04-04T10:38:04.953" v="742" actId="790"/>
          <ac:spMkLst>
            <pc:docMk/>
            <pc:sldMk cId="2125317811" sldId="2134804485"/>
            <ac:spMk id="40" creationId="{2CD323F2-C0F5-46F4-81AB-46FD6C5D821D}"/>
          </ac:spMkLst>
        </pc:spChg>
        <pc:spChg chg="mod">
          <ac:chgData name="Kumpulainen, Teemu (RC-FI DI PA)" userId="9e6db126-282e-46a7-b7b4-e4a6760ecd8a" providerId="ADAL" clId="{69F2DA64-4A59-4EB1-80C9-6C8B92288DA2}" dt="2023-04-04T10:38:04.954" v="743" actId="790"/>
          <ac:spMkLst>
            <pc:docMk/>
            <pc:sldMk cId="2125317811" sldId="2134804485"/>
            <ac:spMk id="41" creationId="{5A675784-030F-41A9-AE57-75DFC41412B5}"/>
          </ac:spMkLst>
        </pc:spChg>
        <pc:spChg chg="mod">
          <ac:chgData name="Kumpulainen, Teemu (RC-FI DI PA)" userId="9e6db126-282e-46a7-b7b4-e4a6760ecd8a" providerId="ADAL" clId="{69F2DA64-4A59-4EB1-80C9-6C8B92288DA2}" dt="2023-04-04T10:38:04.954" v="744" actId="790"/>
          <ac:spMkLst>
            <pc:docMk/>
            <pc:sldMk cId="2125317811" sldId="2134804485"/>
            <ac:spMk id="42" creationId="{79DC9637-223D-4D5A-A03D-95B4F7D8F801}"/>
          </ac:spMkLst>
        </pc:spChg>
        <pc:spChg chg="mod">
          <ac:chgData name="Kumpulainen, Teemu (RC-FI DI PA)" userId="9e6db126-282e-46a7-b7b4-e4a6760ecd8a" providerId="ADAL" clId="{69F2DA64-4A59-4EB1-80C9-6C8B92288DA2}" dt="2023-04-04T10:38:04.955" v="745" actId="790"/>
          <ac:spMkLst>
            <pc:docMk/>
            <pc:sldMk cId="2125317811" sldId="2134804485"/>
            <ac:spMk id="43" creationId="{25B68E93-C063-4BBA-8BC4-95CADCD58081}"/>
          </ac:spMkLst>
        </pc:spChg>
        <pc:spChg chg="mod">
          <ac:chgData name="Kumpulainen, Teemu (RC-FI DI PA)" userId="9e6db126-282e-46a7-b7b4-e4a6760ecd8a" providerId="ADAL" clId="{69F2DA64-4A59-4EB1-80C9-6C8B92288DA2}" dt="2023-04-04T10:38:04.955" v="746" actId="790"/>
          <ac:spMkLst>
            <pc:docMk/>
            <pc:sldMk cId="2125317811" sldId="2134804485"/>
            <ac:spMk id="44" creationId="{169008B9-75E9-4086-9437-9A8E34263EB9}"/>
          </ac:spMkLst>
        </pc:spChg>
      </pc:sldChg>
      <pc:sldChg chg="modSp del mod modNotes">
        <pc:chgData name="Kumpulainen, Teemu (RC-FI DI PA)" userId="9e6db126-282e-46a7-b7b4-e4a6760ecd8a" providerId="ADAL" clId="{69F2DA64-4A59-4EB1-80C9-6C8B92288DA2}" dt="2023-04-04T10:39:46.416" v="1561" actId="47"/>
        <pc:sldMkLst>
          <pc:docMk/>
          <pc:sldMk cId="4182888551" sldId="2134804492"/>
        </pc:sldMkLst>
        <pc:spChg chg="mod">
          <ac:chgData name="Kumpulainen, Teemu (RC-FI DI PA)" userId="9e6db126-282e-46a7-b7b4-e4a6760ecd8a" providerId="ADAL" clId="{69F2DA64-4A59-4EB1-80C9-6C8B92288DA2}" dt="2023-04-04T10:38:04.969" v="768" actId="790"/>
          <ac:spMkLst>
            <pc:docMk/>
            <pc:sldMk cId="4182888551" sldId="2134804492"/>
            <ac:spMk id="2" creationId="{1CA00EB1-1FCF-46B3-B697-3FDFD8281EE0}"/>
          </ac:spMkLst>
        </pc:spChg>
        <pc:spChg chg="mod">
          <ac:chgData name="Kumpulainen, Teemu (RC-FI DI PA)" userId="9e6db126-282e-46a7-b7b4-e4a6760ecd8a" providerId="ADAL" clId="{69F2DA64-4A59-4EB1-80C9-6C8B92288DA2}" dt="2023-04-04T10:38:04.968" v="767"/>
          <ac:spMkLst>
            <pc:docMk/>
            <pc:sldMk cId="4182888551" sldId="2134804492"/>
            <ac:spMk id="3" creationId="{48826E04-8834-499B-8F48-6555958EE954}"/>
          </ac:spMkLst>
        </pc:spChg>
        <pc:spChg chg="mod">
          <ac:chgData name="Kumpulainen, Teemu (RC-FI DI PA)" userId="9e6db126-282e-46a7-b7b4-e4a6760ecd8a" providerId="ADAL" clId="{69F2DA64-4A59-4EB1-80C9-6C8B92288DA2}" dt="2023-04-04T10:38:04.973" v="775" actId="790"/>
          <ac:spMkLst>
            <pc:docMk/>
            <pc:sldMk cId="4182888551" sldId="2134804492"/>
            <ac:spMk id="5" creationId="{DC369A7B-1192-429B-9C0A-99C522B38FED}"/>
          </ac:spMkLst>
        </pc:spChg>
        <pc:spChg chg="mod">
          <ac:chgData name="Kumpulainen, Teemu (RC-FI DI PA)" userId="9e6db126-282e-46a7-b7b4-e4a6760ecd8a" providerId="ADAL" clId="{69F2DA64-4A59-4EB1-80C9-6C8B92288DA2}" dt="2023-04-04T10:38:04.974" v="776" actId="790"/>
          <ac:spMkLst>
            <pc:docMk/>
            <pc:sldMk cId="4182888551" sldId="2134804492"/>
            <ac:spMk id="19" creationId="{BD22FB75-467A-58C2-3A43-322617BFC08B}"/>
          </ac:spMkLst>
        </pc:spChg>
        <pc:spChg chg="mod">
          <ac:chgData name="Kumpulainen, Teemu (RC-FI DI PA)" userId="9e6db126-282e-46a7-b7b4-e4a6760ecd8a" providerId="ADAL" clId="{69F2DA64-4A59-4EB1-80C9-6C8B92288DA2}" dt="2023-04-04T10:38:04.969" v="769" actId="790"/>
          <ac:spMkLst>
            <pc:docMk/>
            <pc:sldMk cId="4182888551" sldId="2134804492"/>
            <ac:spMk id="27" creationId="{55D93C40-2091-4FC1-AAD6-9CF60503BD36}"/>
          </ac:spMkLst>
        </pc:spChg>
        <pc:spChg chg="mod">
          <ac:chgData name="Kumpulainen, Teemu (RC-FI DI PA)" userId="9e6db126-282e-46a7-b7b4-e4a6760ecd8a" providerId="ADAL" clId="{69F2DA64-4A59-4EB1-80C9-6C8B92288DA2}" dt="2023-04-04T10:38:04.970" v="770" actId="790"/>
          <ac:spMkLst>
            <pc:docMk/>
            <pc:sldMk cId="4182888551" sldId="2134804492"/>
            <ac:spMk id="29" creationId="{42FF4DF3-96F3-4DD2-A83A-8FD0BFB17699}"/>
          </ac:spMkLst>
        </pc:spChg>
        <pc:spChg chg="mod">
          <ac:chgData name="Kumpulainen, Teemu (RC-FI DI PA)" userId="9e6db126-282e-46a7-b7b4-e4a6760ecd8a" providerId="ADAL" clId="{69F2DA64-4A59-4EB1-80C9-6C8B92288DA2}" dt="2023-04-04T10:38:04.971" v="771" actId="790"/>
          <ac:spMkLst>
            <pc:docMk/>
            <pc:sldMk cId="4182888551" sldId="2134804492"/>
            <ac:spMk id="30" creationId="{2CA7A27C-5F3E-4BB3-AE48-E04A4506D96B}"/>
          </ac:spMkLst>
        </pc:spChg>
        <pc:spChg chg="mod">
          <ac:chgData name="Kumpulainen, Teemu (RC-FI DI PA)" userId="9e6db126-282e-46a7-b7b4-e4a6760ecd8a" providerId="ADAL" clId="{69F2DA64-4A59-4EB1-80C9-6C8B92288DA2}" dt="2023-04-04T10:38:04.971" v="772" actId="790"/>
          <ac:spMkLst>
            <pc:docMk/>
            <pc:sldMk cId="4182888551" sldId="2134804492"/>
            <ac:spMk id="31" creationId="{2682E290-001F-4FDB-8AB7-9A21B7B6DBCF}"/>
          </ac:spMkLst>
        </pc:spChg>
        <pc:spChg chg="mod">
          <ac:chgData name="Kumpulainen, Teemu (RC-FI DI PA)" userId="9e6db126-282e-46a7-b7b4-e4a6760ecd8a" providerId="ADAL" clId="{69F2DA64-4A59-4EB1-80C9-6C8B92288DA2}" dt="2023-04-04T10:38:04.972" v="773" actId="790"/>
          <ac:spMkLst>
            <pc:docMk/>
            <pc:sldMk cId="4182888551" sldId="2134804492"/>
            <ac:spMk id="32" creationId="{FF3E3FDF-19CC-4A75-B40B-CAF59CCEB99A}"/>
          </ac:spMkLst>
        </pc:spChg>
        <pc:spChg chg="mod">
          <ac:chgData name="Kumpulainen, Teemu (RC-FI DI PA)" userId="9e6db126-282e-46a7-b7b4-e4a6760ecd8a" providerId="ADAL" clId="{69F2DA64-4A59-4EB1-80C9-6C8B92288DA2}" dt="2023-04-04T10:38:04.972" v="774" actId="790"/>
          <ac:spMkLst>
            <pc:docMk/>
            <pc:sldMk cId="4182888551" sldId="2134804492"/>
            <ac:spMk id="33" creationId="{E2C56F5A-8289-4841-A5DF-CE33C2106E56}"/>
          </ac:spMkLst>
        </pc:spChg>
      </pc:sldChg>
      <pc:sldChg chg="modSp del mod modNotes">
        <pc:chgData name="Kumpulainen, Teemu (RC-FI DI PA)" userId="9e6db126-282e-46a7-b7b4-e4a6760ecd8a" providerId="ADAL" clId="{69F2DA64-4A59-4EB1-80C9-6C8B92288DA2}" dt="2023-04-04T10:39:55.049" v="1564" actId="47"/>
        <pc:sldMkLst>
          <pc:docMk/>
          <pc:sldMk cId="3279537392" sldId="2134804503"/>
        </pc:sldMkLst>
        <pc:spChg chg="mod">
          <ac:chgData name="Kumpulainen, Teemu (RC-FI DI PA)" userId="9e6db126-282e-46a7-b7b4-e4a6760ecd8a" providerId="ADAL" clId="{69F2DA64-4A59-4EB1-80C9-6C8B92288DA2}" dt="2023-04-04T10:38:05.490" v="1378" actId="790"/>
          <ac:spMkLst>
            <pc:docMk/>
            <pc:sldMk cId="3279537392" sldId="2134804503"/>
            <ac:spMk id="2" creationId="{026C543F-7875-4755-BE46-0FBA5FA02D21}"/>
          </ac:spMkLst>
        </pc:spChg>
        <pc:spChg chg="mod">
          <ac:chgData name="Kumpulainen, Teemu (RC-FI DI PA)" userId="9e6db126-282e-46a7-b7b4-e4a6760ecd8a" providerId="ADAL" clId="{69F2DA64-4A59-4EB1-80C9-6C8B92288DA2}" dt="2023-04-04T10:38:05.487" v="1373" actId="790"/>
          <ac:spMkLst>
            <pc:docMk/>
            <pc:sldMk cId="3279537392" sldId="2134804503"/>
            <ac:spMk id="3" creationId="{B0CF87DC-C6E7-4462-A304-1A996E5F23CD}"/>
          </ac:spMkLst>
        </pc:spChg>
        <pc:spChg chg="mod">
          <ac:chgData name="Kumpulainen, Teemu (RC-FI DI PA)" userId="9e6db126-282e-46a7-b7b4-e4a6760ecd8a" providerId="ADAL" clId="{69F2DA64-4A59-4EB1-80C9-6C8B92288DA2}" dt="2023-04-04T10:38:05.488" v="1374"/>
          <ac:spMkLst>
            <pc:docMk/>
            <pc:sldMk cId="3279537392" sldId="2134804503"/>
            <ac:spMk id="9" creationId="{CD157C03-7282-42D1-AE1B-8C09F84335B5}"/>
          </ac:spMkLst>
        </pc:spChg>
        <pc:spChg chg="mod">
          <ac:chgData name="Kumpulainen, Teemu (RC-FI DI PA)" userId="9e6db126-282e-46a7-b7b4-e4a6760ecd8a" providerId="ADAL" clId="{69F2DA64-4A59-4EB1-80C9-6C8B92288DA2}" dt="2023-04-04T10:38:05.488" v="1375"/>
          <ac:spMkLst>
            <pc:docMk/>
            <pc:sldMk cId="3279537392" sldId="2134804503"/>
            <ac:spMk id="10" creationId="{29F18B5A-60C8-4518-9F2D-42317B5590E2}"/>
          </ac:spMkLst>
        </pc:spChg>
        <pc:spChg chg="mod">
          <ac:chgData name="Kumpulainen, Teemu (RC-FI DI PA)" userId="9e6db126-282e-46a7-b7b4-e4a6760ecd8a" providerId="ADAL" clId="{69F2DA64-4A59-4EB1-80C9-6C8B92288DA2}" dt="2023-04-04T10:38:05.488" v="1376"/>
          <ac:spMkLst>
            <pc:docMk/>
            <pc:sldMk cId="3279537392" sldId="2134804503"/>
            <ac:spMk id="11" creationId="{C6C180BB-1E7D-48AD-8437-BBECCF1ADF2B}"/>
          </ac:spMkLst>
        </pc:spChg>
        <pc:spChg chg="mod">
          <ac:chgData name="Kumpulainen, Teemu (RC-FI DI PA)" userId="9e6db126-282e-46a7-b7b4-e4a6760ecd8a" providerId="ADAL" clId="{69F2DA64-4A59-4EB1-80C9-6C8B92288DA2}" dt="2023-04-04T10:38:05.489" v="1377" actId="790"/>
          <ac:spMkLst>
            <pc:docMk/>
            <pc:sldMk cId="3279537392" sldId="2134804503"/>
            <ac:spMk id="22" creationId="{F5839A23-0DA8-4284-BA3F-D305E18FF7A5}"/>
          </ac:spMkLst>
        </pc:spChg>
        <pc:spChg chg="mod">
          <ac:chgData name="Kumpulainen, Teemu (RC-FI DI PA)" userId="9e6db126-282e-46a7-b7b4-e4a6760ecd8a" providerId="ADAL" clId="{69F2DA64-4A59-4EB1-80C9-6C8B92288DA2}" dt="2023-04-04T10:38:05.486" v="1372"/>
          <ac:spMkLst>
            <pc:docMk/>
            <pc:sldMk cId="3279537392" sldId="2134804503"/>
            <ac:spMk id="29" creationId="{33039DBB-8590-4464-B233-E7074B634F8B}"/>
          </ac:spMkLst>
        </pc:spChg>
      </pc:sldChg>
      <pc:sldChg chg="modSp mod modNotes">
        <pc:chgData name="Kumpulainen, Teemu (RC-FI DI PA)" userId="9e6db126-282e-46a7-b7b4-e4a6760ecd8a" providerId="ADAL" clId="{69F2DA64-4A59-4EB1-80C9-6C8B92288DA2}" dt="2023-04-04T10:38:05.498" v="1390" actId="790"/>
        <pc:sldMkLst>
          <pc:docMk/>
          <pc:sldMk cId="3522610941" sldId="2134804504"/>
        </pc:sldMkLst>
        <pc:spChg chg="mod">
          <ac:chgData name="Kumpulainen, Teemu (RC-FI DI PA)" userId="9e6db126-282e-46a7-b7b4-e4a6760ecd8a" providerId="ADAL" clId="{69F2DA64-4A59-4EB1-80C9-6C8B92288DA2}" dt="2023-04-04T10:38:05.495" v="1387" actId="790"/>
          <ac:spMkLst>
            <pc:docMk/>
            <pc:sldMk cId="3522610941" sldId="2134804504"/>
            <ac:spMk id="2" creationId="{9A00EA12-E677-47F3-9270-43B61AE4878C}"/>
          </ac:spMkLst>
        </pc:spChg>
        <pc:spChg chg="mod">
          <ac:chgData name="Kumpulainen, Teemu (RC-FI DI PA)" userId="9e6db126-282e-46a7-b7b4-e4a6760ecd8a" providerId="ADAL" clId="{69F2DA64-4A59-4EB1-80C9-6C8B92288DA2}" dt="2023-04-04T10:38:05.494" v="1384" actId="790"/>
          <ac:spMkLst>
            <pc:docMk/>
            <pc:sldMk cId="3522610941" sldId="2134804504"/>
            <ac:spMk id="3" creationId="{48F323C8-AD48-459F-A0DF-9467627C000C}"/>
          </ac:spMkLst>
        </pc:spChg>
        <pc:spChg chg="mod">
          <ac:chgData name="Kumpulainen, Teemu (RC-FI DI PA)" userId="9e6db126-282e-46a7-b7b4-e4a6760ecd8a" providerId="ADAL" clId="{69F2DA64-4A59-4EB1-80C9-6C8B92288DA2}" dt="2023-04-04T10:38:05.493" v="1383"/>
          <ac:spMkLst>
            <pc:docMk/>
            <pc:sldMk cId="3522610941" sldId="2134804504"/>
            <ac:spMk id="6" creationId="{5A43EE34-DBC1-4D6B-AD3A-717D7AF553E7}"/>
          </ac:spMkLst>
        </pc:spChg>
        <pc:spChg chg="mod">
          <ac:chgData name="Kumpulainen, Teemu (RC-FI DI PA)" userId="9e6db126-282e-46a7-b7b4-e4a6760ecd8a" providerId="ADAL" clId="{69F2DA64-4A59-4EB1-80C9-6C8B92288DA2}" dt="2023-04-04T10:38:05.494" v="1385"/>
          <ac:spMkLst>
            <pc:docMk/>
            <pc:sldMk cId="3522610941" sldId="2134804504"/>
            <ac:spMk id="12" creationId="{74F4F5DC-C047-4F8B-BCC9-F5369731BF91}"/>
          </ac:spMkLst>
        </pc:spChg>
        <pc:spChg chg="mod">
          <ac:chgData name="Kumpulainen, Teemu (RC-FI DI PA)" userId="9e6db126-282e-46a7-b7b4-e4a6760ecd8a" providerId="ADAL" clId="{69F2DA64-4A59-4EB1-80C9-6C8B92288DA2}" dt="2023-04-04T10:38:05.495" v="1386" actId="790"/>
          <ac:spMkLst>
            <pc:docMk/>
            <pc:sldMk cId="3522610941" sldId="2134804504"/>
            <ac:spMk id="16" creationId="{BC2C1ED2-35AE-4BB9-BA59-57160F61122F}"/>
          </ac:spMkLst>
        </pc:spChg>
      </pc:sldChg>
      <pc:sldChg chg="modSp mod modNotes">
        <pc:chgData name="Kumpulainen, Teemu (RC-FI DI PA)" userId="9e6db126-282e-46a7-b7b4-e4a6760ecd8a" providerId="ADAL" clId="{69F2DA64-4A59-4EB1-80C9-6C8B92288DA2}" dt="2023-04-04T10:38:05.249" v="1044" actId="790"/>
        <pc:sldMkLst>
          <pc:docMk/>
          <pc:sldMk cId="1477027665" sldId="2134804505"/>
        </pc:sldMkLst>
        <pc:spChg chg="mod">
          <ac:chgData name="Kumpulainen, Teemu (RC-FI DI PA)" userId="9e6db126-282e-46a7-b7b4-e4a6760ecd8a" providerId="ADAL" clId="{69F2DA64-4A59-4EB1-80C9-6C8B92288DA2}" dt="2023-04-04T10:38:05.217" v="1010" actId="790"/>
          <ac:spMkLst>
            <pc:docMk/>
            <pc:sldMk cId="1477027665" sldId="2134804505"/>
            <ac:spMk id="2" creationId="{C8F16676-4F5A-49C8-A662-37F11D33B72F}"/>
          </ac:spMkLst>
        </pc:spChg>
        <pc:spChg chg="mod">
          <ac:chgData name="Kumpulainen, Teemu (RC-FI DI PA)" userId="9e6db126-282e-46a7-b7b4-e4a6760ecd8a" providerId="ADAL" clId="{69F2DA64-4A59-4EB1-80C9-6C8B92288DA2}" dt="2023-04-04T10:38:05.218" v="1011" actId="790"/>
          <ac:spMkLst>
            <pc:docMk/>
            <pc:sldMk cId="1477027665" sldId="2134804505"/>
            <ac:spMk id="6" creationId="{20230080-2915-48BB-8430-33908647D5FE}"/>
          </ac:spMkLst>
        </pc:spChg>
        <pc:spChg chg="mod">
          <ac:chgData name="Kumpulainen, Teemu (RC-FI DI PA)" userId="9e6db126-282e-46a7-b7b4-e4a6760ecd8a" providerId="ADAL" clId="{69F2DA64-4A59-4EB1-80C9-6C8B92288DA2}" dt="2023-04-04T10:38:05.219" v="1012" actId="790"/>
          <ac:spMkLst>
            <pc:docMk/>
            <pc:sldMk cId="1477027665" sldId="2134804505"/>
            <ac:spMk id="7" creationId="{87D0D325-AF25-4872-9198-45246438D7E4}"/>
          </ac:spMkLst>
        </pc:spChg>
        <pc:spChg chg="mod">
          <ac:chgData name="Kumpulainen, Teemu (RC-FI DI PA)" userId="9e6db126-282e-46a7-b7b4-e4a6760ecd8a" providerId="ADAL" clId="{69F2DA64-4A59-4EB1-80C9-6C8B92288DA2}" dt="2023-04-04T10:38:05.219" v="1013" actId="790"/>
          <ac:spMkLst>
            <pc:docMk/>
            <pc:sldMk cId="1477027665" sldId="2134804505"/>
            <ac:spMk id="15" creationId="{AF37641F-9981-4A19-86B7-77296CD4D245}"/>
          </ac:spMkLst>
        </pc:spChg>
        <pc:spChg chg="mod">
          <ac:chgData name="Kumpulainen, Teemu (RC-FI DI PA)" userId="9e6db126-282e-46a7-b7b4-e4a6760ecd8a" providerId="ADAL" clId="{69F2DA64-4A59-4EB1-80C9-6C8B92288DA2}" dt="2023-04-04T10:38:05.220" v="1014" actId="790"/>
          <ac:spMkLst>
            <pc:docMk/>
            <pc:sldMk cId="1477027665" sldId="2134804505"/>
            <ac:spMk id="16" creationId="{BFFC9E1B-D24D-4B23-8CB6-E79DA7DFA061}"/>
          </ac:spMkLst>
        </pc:spChg>
        <pc:spChg chg="mod">
          <ac:chgData name="Kumpulainen, Teemu (RC-FI DI PA)" userId="9e6db126-282e-46a7-b7b4-e4a6760ecd8a" providerId="ADAL" clId="{69F2DA64-4A59-4EB1-80C9-6C8B92288DA2}" dt="2023-04-04T10:38:05.221" v="1015" actId="790"/>
          <ac:spMkLst>
            <pc:docMk/>
            <pc:sldMk cId="1477027665" sldId="2134804505"/>
            <ac:spMk id="17" creationId="{3AD85F88-30F6-4AE5-B73A-FE86B3634E1C}"/>
          </ac:spMkLst>
        </pc:spChg>
        <pc:spChg chg="mod">
          <ac:chgData name="Kumpulainen, Teemu (RC-FI DI PA)" userId="9e6db126-282e-46a7-b7b4-e4a6760ecd8a" providerId="ADAL" clId="{69F2DA64-4A59-4EB1-80C9-6C8B92288DA2}" dt="2023-04-04T10:38:05.221" v="1016" actId="790"/>
          <ac:spMkLst>
            <pc:docMk/>
            <pc:sldMk cId="1477027665" sldId="2134804505"/>
            <ac:spMk id="18" creationId="{B3A0CE38-1172-4C84-91A0-A4814238BE9E}"/>
          </ac:spMkLst>
        </pc:spChg>
        <pc:spChg chg="mod">
          <ac:chgData name="Kumpulainen, Teemu (RC-FI DI PA)" userId="9e6db126-282e-46a7-b7b4-e4a6760ecd8a" providerId="ADAL" clId="{69F2DA64-4A59-4EB1-80C9-6C8B92288DA2}" dt="2023-04-04T10:38:05.226" v="1017" actId="790"/>
          <ac:spMkLst>
            <pc:docMk/>
            <pc:sldMk cId="1477027665" sldId="2134804505"/>
            <ac:spMk id="19" creationId="{186F93C1-C04E-4025-ACEA-2AEAC328716E}"/>
          </ac:spMkLst>
        </pc:spChg>
        <pc:spChg chg="mod">
          <ac:chgData name="Kumpulainen, Teemu (RC-FI DI PA)" userId="9e6db126-282e-46a7-b7b4-e4a6760ecd8a" providerId="ADAL" clId="{69F2DA64-4A59-4EB1-80C9-6C8B92288DA2}" dt="2023-04-04T10:38:05.227" v="1018" actId="790"/>
          <ac:spMkLst>
            <pc:docMk/>
            <pc:sldMk cId="1477027665" sldId="2134804505"/>
            <ac:spMk id="20" creationId="{68E53CED-A3BD-4100-A9DD-BC091DA32B08}"/>
          </ac:spMkLst>
        </pc:spChg>
        <pc:spChg chg="mod">
          <ac:chgData name="Kumpulainen, Teemu (RC-FI DI PA)" userId="9e6db126-282e-46a7-b7b4-e4a6760ecd8a" providerId="ADAL" clId="{69F2DA64-4A59-4EB1-80C9-6C8B92288DA2}" dt="2023-04-04T10:38:05.227" v="1019" actId="790"/>
          <ac:spMkLst>
            <pc:docMk/>
            <pc:sldMk cId="1477027665" sldId="2134804505"/>
            <ac:spMk id="24" creationId="{3EFF9703-6E65-4BAD-AB49-AAB9D38130AF}"/>
          </ac:spMkLst>
        </pc:spChg>
        <pc:spChg chg="mod">
          <ac:chgData name="Kumpulainen, Teemu (RC-FI DI PA)" userId="9e6db126-282e-46a7-b7b4-e4a6760ecd8a" providerId="ADAL" clId="{69F2DA64-4A59-4EB1-80C9-6C8B92288DA2}" dt="2023-04-04T10:38:05.229" v="1020" actId="790"/>
          <ac:spMkLst>
            <pc:docMk/>
            <pc:sldMk cId="1477027665" sldId="2134804505"/>
            <ac:spMk id="26" creationId="{F2F465F8-35DD-4F2E-9F46-6BD6118A9E40}"/>
          </ac:spMkLst>
        </pc:spChg>
        <pc:spChg chg="mod">
          <ac:chgData name="Kumpulainen, Teemu (RC-FI DI PA)" userId="9e6db126-282e-46a7-b7b4-e4a6760ecd8a" providerId="ADAL" clId="{69F2DA64-4A59-4EB1-80C9-6C8B92288DA2}" dt="2023-04-04T10:38:05.229" v="1021" actId="790"/>
          <ac:spMkLst>
            <pc:docMk/>
            <pc:sldMk cId="1477027665" sldId="2134804505"/>
            <ac:spMk id="27" creationId="{87DB905A-C4E6-484A-A3D8-7138F2167CF4}"/>
          </ac:spMkLst>
        </pc:spChg>
        <pc:spChg chg="mod">
          <ac:chgData name="Kumpulainen, Teemu (RC-FI DI PA)" userId="9e6db126-282e-46a7-b7b4-e4a6760ecd8a" providerId="ADAL" clId="{69F2DA64-4A59-4EB1-80C9-6C8B92288DA2}" dt="2023-04-04T10:38:05.229" v="1022" actId="790"/>
          <ac:spMkLst>
            <pc:docMk/>
            <pc:sldMk cId="1477027665" sldId="2134804505"/>
            <ac:spMk id="28" creationId="{B51D2389-EA3C-4479-8DCC-9315ADA0E04C}"/>
          </ac:spMkLst>
        </pc:spChg>
        <pc:spChg chg="mod">
          <ac:chgData name="Kumpulainen, Teemu (RC-FI DI PA)" userId="9e6db126-282e-46a7-b7b4-e4a6760ecd8a" providerId="ADAL" clId="{69F2DA64-4A59-4EB1-80C9-6C8B92288DA2}" dt="2023-04-04T10:38:05.230" v="1023" actId="790"/>
          <ac:spMkLst>
            <pc:docMk/>
            <pc:sldMk cId="1477027665" sldId="2134804505"/>
            <ac:spMk id="29" creationId="{3D915C6F-9A9F-43DF-BA7F-BB9C41B4076A}"/>
          </ac:spMkLst>
        </pc:spChg>
        <pc:spChg chg="mod">
          <ac:chgData name="Kumpulainen, Teemu (RC-FI DI PA)" userId="9e6db126-282e-46a7-b7b4-e4a6760ecd8a" providerId="ADAL" clId="{69F2DA64-4A59-4EB1-80C9-6C8B92288DA2}" dt="2023-04-04T10:38:05.231" v="1024" actId="790"/>
          <ac:spMkLst>
            <pc:docMk/>
            <pc:sldMk cId="1477027665" sldId="2134804505"/>
            <ac:spMk id="30" creationId="{F2370DB8-9C1F-44BF-8860-C32017443E8F}"/>
          </ac:spMkLst>
        </pc:spChg>
        <pc:spChg chg="mod">
          <ac:chgData name="Kumpulainen, Teemu (RC-FI DI PA)" userId="9e6db126-282e-46a7-b7b4-e4a6760ecd8a" providerId="ADAL" clId="{69F2DA64-4A59-4EB1-80C9-6C8B92288DA2}" dt="2023-04-04T10:38:05.232" v="1025" actId="790"/>
          <ac:spMkLst>
            <pc:docMk/>
            <pc:sldMk cId="1477027665" sldId="2134804505"/>
            <ac:spMk id="31" creationId="{EECF3ABD-422A-4D7A-8638-7928B767AEE6}"/>
          </ac:spMkLst>
        </pc:spChg>
        <pc:spChg chg="mod">
          <ac:chgData name="Kumpulainen, Teemu (RC-FI DI PA)" userId="9e6db126-282e-46a7-b7b4-e4a6760ecd8a" providerId="ADAL" clId="{69F2DA64-4A59-4EB1-80C9-6C8B92288DA2}" dt="2023-04-04T10:38:05.232" v="1026" actId="790"/>
          <ac:spMkLst>
            <pc:docMk/>
            <pc:sldMk cId="1477027665" sldId="2134804505"/>
            <ac:spMk id="32" creationId="{709319E7-4394-447D-A572-2CFF574A9855}"/>
          </ac:spMkLst>
        </pc:spChg>
        <pc:spChg chg="mod">
          <ac:chgData name="Kumpulainen, Teemu (RC-FI DI PA)" userId="9e6db126-282e-46a7-b7b4-e4a6760ecd8a" providerId="ADAL" clId="{69F2DA64-4A59-4EB1-80C9-6C8B92288DA2}" dt="2023-04-04T10:38:05.233" v="1027" actId="790"/>
          <ac:spMkLst>
            <pc:docMk/>
            <pc:sldMk cId="1477027665" sldId="2134804505"/>
            <ac:spMk id="34" creationId="{4FA294E4-C5C5-4C96-9A9E-DC63D0E80091}"/>
          </ac:spMkLst>
        </pc:spChg>
        <pc:spChg chg="mod">
          <ac:chgData name="Kumpulainen, Teemu (RC-FI DI PA)" userId="9e6db126-282e-46a7-b7b4-e4a6760ecd8a" providerId="ADAL" clId="{69F2DA64-4A59-4EB1-80C9-6C8B92288DA2}" dt="2023-04-04T10:38:05.234" v="1028" actId="790"/>
          <ac:spMkLst>
            <pc:docMk/>
            <pc:sldMk cId="1477027665" sldId="2134804505"/>
            <ac:spMk id="35" creationId="{DDFD689C-FB71-4259-BF48-05CE0E4B36CE}"/>
          </ac:spMkLst>
        </pc:spChg>
        <pc:spChg chg="mod">
          <ac:chgData name="Kumpulainen, Teemu (RC-FI DI PA)" userId="9e6db126-282e-46a7-b7b4-e4a6760ecd8a" providerId="ADAL" clId="{69F2DA64-4A59-4EB1-80C9-6C8B92288DA2}" dt="2023-04-04T10:38:05.234" v="1029" actId="790"/>
          <ac:spMkLst>
            <pc:docMk/>
            <pc:sldMk cId="1477027665" sldId="2134804505"/>
            <ac:spMk id="36" creationId="{CE0F0F15-2763-4E87-B38D-CFDB0BC72A12}"/>
          </ac:spMkLst>
        </pc:spChg>
        <pc:spChg chg="mod">
          <ac:chgData name="Kumpulainen, Teemu (RC-FI DI PA)" userId="9e6db126-282e-46a7-b7b4-e4a6760ecd8a" providerId="ADAL" clId="{69F2DA64-4A59-4EB1-80C9-6C8B92288DA2}" dt="2023-04-04T10:38:05.235" v="1030" actId="790"/>
          <ac:spMkLst>
            <pc:docMk/>
            <pc:sldMk cId="1477027665" sldId="2134804505"/>
            <ac:spMk id="37" creationId="{A0F3E3E0-A81E-4FD1-80D1-25B8A6BE94D7}"/>
          </ac:spMkLst>
        </pc:spChg>
        <pc:spChg chg="mod">
          <ac:chgData name="Kumpulainen, Teemu (RC-FI DI PA)" userId="9e6db126-282e-46a7-b7b4-e4a6760ecd8a" providerId="ADAL" clId="{69F2DA64-4A59-4EB1-80C9-6C8B92288DA2}" dt="2023-04-04T10:38:05.236" v="1031" actId="790"/>
          <ac:spMkLst>
            <pc:docMk/>
            <pc:sldMk cId="1477027665" sldId="2134804505"/>
            <ac:spMk id="38" creationId="{0EDDEAC6-7EB9-431D-AF58-C65AF2AA8FE0}"/>
          </ac:spMkLst>
        </pc:spChg>
        <pc:spChg chg="mod">
          <ac:chgData name="Kumpulainen, Teemu (RC-FI DI PA)" userId="9e6db126-282e-46a7-b7b4-e4a6760ecd8a" providerId="ADAL" clId="{69F2DA64-4A59-4EB1-80C9-6C8B92288DA2}" dt="2023-04-04T10:38:05.236" v="1032" actId="790"/>
          <ac:spMkLst>
            <pc:docMk/>
            <pc:sldMk cId="1477027665" sldId="2134804505"/>
            <ac:spMk id="39" creationId="{03F0B54B-BB8D-4D0A-AAED-01D7D5D9099A}"/>
          </ac:spMkLst>
        </pc:spChg>
        <pc:spChg chg="mod">
          <ac:chgData name="Kumpulainen, Teemu (RC-FI DI PA)" userId="9e6db126-282e-46a7-b7b4-e4a6760ecd8a" providerId="ADAL" clId="{69F2DA64-4A59-4EB1-80C9-6C8B92288DA2}" dt="2023-04-04T10:38:05.237" v="1033" actId="790"/>
          <ac:spMkLst>
            <pc:docMk/>
            <pc:sldMk cId="1477027665" sldId="2134804505"/>
            <ac:spMk id="40" creationId="{C5FDBFE3-95AD-47C0-884C-3C39EC1F7C24}"/>
          </ac:spMkLst>
        </pc:spChg>
        <pc:spChg chg="mod">
          <ac:chgData name="Kumpulainen, Teemu (RC-FI DI PA)" userId="9e6db126-282e-46a7-b7b4-e4a6760ecd8a" providerId="ADAL" clId="{69F2DA64-4A59-4EB1-80C9-6C8B92288DA2}" dt="2023-04-04T10:38:05.237" v="1034" actId="790"/>
          <ac:spMkLst>
            <pc:docMk/>
            <pc:sldMk cId="1477027665" sldId="2134804505"/>
            <ac:spMk id="42" creationId="{2F2F4708-1CE8-4E3C-B10E-E1292AB20540}"/>
          </ac:spMkLst>
        </pc:spChg>
        <pc:spChg chg="mod">
          <ac:chgData name="Kumpulainen, Teemu (RC-FI DI PA)" userId="9e6db126-282e-46a7-b7b4-e4a6760ecd8a" providerId="ADAL" clId="{69F2DA64-4A59-4EB1-80C9-6C8B92288DA2}" dt="2023-04-04T10:38:05.238" v="1035" actId="790"/>
          <ac:spMkLst>
            <pc:docMk/>
            <pc:sldMk cId="1477027665" sldId="2134804505"/>
            <ac:spMk id="43" creationId="{4A826E03-A026-41AA-8EE1-9FEC6B054768}"/>
          </ac:spMkLst>
        </pc:spChg>
        <pc:spChg chg="mod">
          <ac:chgData name="Kumpulainen, Teemu (RC-FI DI PA)" userId="9e6db126-282e-46a7-b7b4-e4a6760ecd8a" providerId="ADAL" clId="{69F2DA64-4A59-4EB1-80C9-6C8B92288DA2}" dt="2023-04-04T10:38:05.239" v="1036" actId="790"/>
          <ac:spMkLst>
            <pc:docMk/>
            <pc:sldMk cId="1477027665" sldId="2134804505"/>
            <ac:spMk id="44" creationId="{E21F08E1-2C18-49C4-B75A-CB7CA9F0FF03}"/>
          </ac:spMkLst>
        </pc:spChg>
        <pc:spChg chg="mod">
          <ac:chgData name="Kumpulainen, Teemu (RC-FI DI PA)" userId="9e6db126-282e-46a7-b7b4-e4a6760ecd8a" providerId="ADAL" clId="{69F2DA64-4A59-4EB1-80C9-6C8B92288DA2}" dt="2023-04-04T10:38:05.239" v="1037" actId="790"/>
          <ac:spMkLst>
            <pc:docMk/>
            <pc:sldMk cId="1477027665" sldId="2134804505"/>
            <ac:spMk id="45" creationId="{DA4DCF57-DC0E-4213-8772-69BFA4753205}"/>
          </ac:spMkLst>
        </pc:spChg>
        <pc:spChg chg="mod">
          <ac:chgData name="Kumpulainen, Teemu (RC-FI DI PA)" userId="9e6db126-282e-46a7-b7b4-e4a6760ecd8a" providerId="ADAL" clId="{69F2DA64-4A59-4EB1-80C9-6C8B92288DA2}" dt="2023-04-04T10:38:05.240" v="1038" actId="790"/>
          <ac:spMkLst>
            <pc:docMk/>
            <pc:sldMk cId="1477027665" sldId="2134804505"/>
            <ac:spMk id="46" creationId="{DEB41A6C-7C98-418E-BCD1-097B4FD744AB}"/>
          </ac:spMkLst>
        </pc:spChg>
        <pc:spChg chg="mod">
          <ac:chgData name="Kumpulainen, Teemu (RC-FI DI PA)" userId="9e6db126-282e-46a7-b7b4-e4a6760ecd8a" providerId="ADAL" clId="{69F2DA64-4A59-4EB1-80C9-6C8B92288DA2}" dt="2023-04-04T10:38:05.241" v="1039" actId="790"/>
          <ac:spMkLst>
            <pc:docMk/>
            <pc:sldMk cId="1477027665" sldId="2134804505"/>
            <ac:spMk id="47" creationId="{B37C97E4-F2FD-4D5E-9586-96A95D908DD9}"/>
          </ac:spMkLst>
        </pc:spChg>
        <pc:spChg chg="mod">
          <ac:chgData name="Kumpulainen, Teemu (RC-FI DI PA)" userId="9e6db126-282e-46a7-b7b4-e4a6760ecd8a" providerId="ADAL" clId="{69F2DA64-4A59-4EB1-80C9-6C8B92288DA2}" dt="2023-04-04T10:38:05.241" v="1040" actId="790"/>
          <ac:spMkLst>
            <pc:docMk/>
            <pc:sldMk cId="1477027665" sldId="2134804505"/>
            <ac:spMk id="48" creationId="{7208D22D-03BD-4161-92B6-904FCBA61E10}"/>
          </ac:spMkLst>
        </pc:spChg>
        <pc:spChg chg="mod">
          <ac:chgData name="Kumpulainen, Teemu (RC-FI DI PA)" userId="9e6db126-282e-46a7-b7b4-e4a6760ecd8a" providerId="ADAL" clId="{69F2DA64-4A59-4EB1-80C9-6C8B92288DA2}" dt="2023-04-04T10:38:05.242" v="1041" actId="790"/>
          <ac:spMkLst>
            <pc:docMk/>
            <pc:sldMk cId="1477027665" sldId="2134804505"/>
            <ac:spMk id="49" creationId="{DF0AE42D-5001-4C2D-A205-541ADF69A5E9}"/>
          </ac:spMkLst>
        </pc:spChg>
        <pc:graphicFrameChg chg="modGraphic">
          <ac:chgData name="Kumpulainen, Teemu (RC-FI DI PA)" userId="9e6db126-282e-46a7-b7b4-e4a6760ecd8a" providerId="ADAL" clId="{69F2DA64-4A59-4EB1-80C9-6C8B92288DA2}" dt="2023-04-04T10:38:05.216" v="1009" actId="790"/>
          <ac:graphicFrameMkLst>
            <pc:docMk/>
            <pc:sldMk cId="1477027665" sldId="2134804505"/>
            <ac:graphicFrameMk id="12" creationId="{0123BF2B-5C48-43E8-B856-33F55A08EE68}"/>
          </ac:graphicFrameMkLst>
        </pc:graphicFrameChg>
      </pc:sldChg>
      <pc:sldChg chg="modSp del mod modNotes">
        <pc:chgData name="Kumpulainen, Teemu (RC-FI DI PA)" userId="9e6db126-282e-46a7-b7b4-e4a6760ecd8a" providerId="ADAL" clId="{69F2DA64-4A59-4EB1-80C9-6C8B92288DA2}" dt="2023-04-04T10:40:50.850" v="1568" actId="47"/>
        <pc:sldMkLst>
          <pc:docMk/>
          <pc:sldMk cId="3767758351" sldId="2134804536"/>
        </pc:sldMkLst>
        <pc:spChg chg="mod">
          <ac:chgData name="Kumpulainen, Teemu (RC-FI DI PA)" userId="9e6db126-282e-46a7-b7b4-e4a6760ecd8a" providerId="ADAL" clId="{69F2DA64-4A59-4EB1-80C9-6C8B92288DA2}" dt="2023-04-04T10:38:05.250" v="1046" actId="790"/>
          <ac:spMkLst>
            <pc:docMk/>
            <pc:sldMk cId="3767758351" sldId="2134804536"/>
            <ac:spMk id="2" creationId="{7E516DC8-2813-49E5-A847-FD6B8EBA6357}"/>
          </ac:spMkLst>
        </pc:spChg>
        <pc:spChg chg="mod">
          <ac:chgData name="Kumpulainen, Teemu (RC-FI DI PA)" userId="9e6db126-282e-46a7-b7b4-e4a6760ecd8a" providerId="ADAL" clId="{69F2DA64-4A59-4EB1-80C9-6C8B92288DA2}" dt="2023-04-04T10:38:05.265" v="1062" actId="790"/>
          <ac:spMkLst>
            <pc:docMk/>
            <pc:sldMk cId="3767758351" sldId="2134804536"/>
            <ac:spMk id="4" creationId="{6F7DE4B9-469D-4548-AC62-6413987D400A}"/>
          </ac:spMkLst>
        </pc:spChg>
        <pc:spChg chg="mod">
          <ac:chgData name="Kumpulainen, Teemu (RC-FI DI PA)" userId="9e6db126-282e-46a7-b7b4-e4a6760ecd8a" providerId="ADAL" clId="{69F2DA64-4A59-4EB1-80C9-6C8B92288DA2}" dt="2023-04-04T10:38:05.265" v="1063" actId="790"/>
          <ac:spMkLst>
            <pc:docMk/>
            <pc:sldMk cId="3767758351" sldId="2134804536"/>
            <ac:spMk id="5" creationId="{DA8F66A2-4BA8-45F2-BCC0-2BD5F884F4A5}"/>
          </ac:spMkLst>
        </pc:spChg>
        <pc:graphicFrameChg chg="modGraphic">
          <ac:chgData name="Kumpulainen, Teemu (RC-FI DI PA)" userId="9e6db126-282e-46a7-b7b4-e4a6760ecd8a" providerId="ADAL" clId="{69F2DA64-4A59-4EB1-80C9-6C8B92288DA2}" dt="2023-04-04T10:38:05.264" v="1061" actId="790"/>
          <ac:graphicFrameMkLst>
            <pc:docMk/>
            <pc:sldMk cId="3767758351" sldId="2134804536"/>
            <ac:graphicFrameMk id="17" creationId="{B45371EA-B2F3-4BA2-8367-00B4121C28DB}"/>
          </ac:graphicFrameMkLst>
        </pc:graphicFrameChg>
      </pc:sldChg>
      <pc:sldChg chg="modSp del mod modNotes">
        <pc:chgData name="Kumpulainen, Teemu (RC-FI DI PA)" userId="9e6db126-282e-46a7-b7b4-e4a6760ecd8a" providerId="ADAL" clId="{69F2DA64-4A59-4EB1-80C9-6C8B92288DA2}" dt="2023-04-04T10:39:28.341" v="1559" actId="47"/>
        <pc:sldMkLst>
          <pc:docMk/>
          <pc:sldMk cId="2117333123" sldId="2134804587"/>
        </pc:sldMkLst>
        <pc:spChg chg="mod">
          <ac:chgData name="Kumpulainen, Teemu (RC-FI DI PA)" userId="9e6db126-282e-46a7-b7b4-e4a6760ecd8a" providerId="ADAL" clId="{69F2DA64-4A59-4EB1-80C9-6C8B92288DA2}" dt="2023-04-04T10:38:04.977" v="781" actId="790"/>
          <ac:spMkLst>
            <pc:docMk/>
            <pc:sldMk cId="2117333123" sldId="2134804587"/>
            <ac:spMk id="2" creationId="{B97FE75D-4B8E-4C81-9445-35E9788BA4C6}"/>
          </ac:spMkLst>
        </pc:spChg>
        <pc:spChg chg="mod">
          <ac:chgData name="Kumpulainen, Teemu (RC-FI DI PA)" userId="9e6db126-282e-46a7-b7b4-e4a6760ecd8a" providerId="ADAL" clId="{69F2DA64-4A59-4EB1-80C9-6C8B92288DA2}" dt="2023-04-04T10:38:04.978" v="782" actId="790"/>
          <ac:spMkLst>
            <pc:docMk/>
            <pc:sldMk cId="2117333123" sldId="2134804587"/>
            <ac:spMk id="4" creationId="{C5333026-EDB0-4F59-AC1B-6233E5E298F2}"/>
          </ac:spMkLst>
        </pc:spChg>
        <pc:spChg chg="mod">
          <ac:chgData name="Kumpulainen, Teemu (RC-FI DI PA)" userId="9e6db126-282e-46a7-b7b4-e4a6760ecd8a" providerId="ADAL" clId="{69F2DA64-4A59-4EB1-80C9-6C8B92288DA2}" dt="2023-04-04T10:38:04.978" v="783" actId="790"/>
          <ac:spMkLst>
            <pc:docMk/>
            <pc:sldMk cId="2117333123" sldId="2134804587"/>
            <ac:spMk id="5" creationId="{F9BE15EF-DBA4-451D-901F-9EDF62010BB9}"/>
          </ac:spMkLst>
        </pc:spChg>
        <pc:spChg chg="mod">
          <ac:chgData name="Kumpulainen, Teemu (RC-FI DI PA)" userId="9e6db126-282e-46a7-b7b4-e4a6760ecd8a" providerId="ADAL" clId="{69F2DA64-4A59-4EB1-80C9-6C8B92288DA2}" dt="2023-04-04T10:38:04.979" v="784" actId="790"/>
          <ac:spMkLst>
            <pc:docMk/>
            <pc:sldMk cId="2117333123" sldId="2134804587"/>
            <ac:spMk id="6" creationId="{0E3DD464-DCA4-485D-9727-E1359D44DC2C}"/>
          </ac:spMkLst>
        </pc:spChg>
        <pc:spChg chg="mod">
          <ac:chgData name="Kumpulainen, Teemu (RC-FI DI PA)" userId="9e6db126-282e-46a7-b7b4-e4a6760ecd8a" providerId="ADAL" clId="{69F2DA64-4A59-4EB1-80C9-6C8B92288DA2}" dt="2023-04-04T10:38:04.980" v="785" actId="790"/>
          <ac:spMkLst>
            <pc:docMk/>
            <pc:sldMk cId="2117333123" sldId="2134804587"/>
            <ac:spMk id="7" creationId="{67AB97BF-3794-4B5B-A605-91C05ACCB9E6}"/>
          </ac:spMkLst>
        </pc:spChg>
        <pc:spChg chg="mod">
          <ac:chgData name="Kumpulainen, Teemu (RC-FI DI PA)" userId="9e6db126-282e-46a7-b7b4-e4a6760ecd8a" providerId="ADAL" clId="{69F2DA64-4A59-4EB1-80C9-6C8B92288DA2}" dt="2023-04-04T10:38:04.986" v="786" actId="790"/>
          <ac:spMkLst>
            <pc:docMk/>
            <pc:sldMk cId="2117333123" sldId="2134804587"/>
            <ac:spMk id="8" creationId="{DD48092C-6D76-41A7-87AD-5D9F1C0A9F26}"/>
          </ac:spMkLst>
        </pc:spChg>
        <pc:spChg chg="mod">
          <ac:chgData name="Kumpulainen, Teemu (RC-FI DI PA)" userId="9e6db126-282e-46a7-b7b4-e4a6760ecd8a" providerId="ADAL" clId="{69F2DA64-4A59-4EB1-80C9-6C8B92288DA2}" dt="2023-04-04T10:38:04.988" v="787" actId="790"/>
          <ac:spMkLst>
            <pc:docMk/>
            <pc:sldMk cId="2117333123" sldId="2134804587"/>
            <ac:spMk id="9" creationId="{F16265C6-656B-4D49-A834-83765494F438}"/>
          </ac:spMkLst>
        </pc:spChg>
        <pc:spChg chg="mod">
          <ac:chgData name="Kumpulainen, Teemu (RC-FI DI PA)" userId="9e6db126-282e-46a7-b7b4-e4a6760ecd8a" providerId="ADAL" clId="{69F2DA64-4A59-4EB1-80C9-6C8B92288DA2}" dt="2023-04-04T10:38:04.993" v="788" actId="790"/>
          <ac:spMkLst>
            <pc:docMk/>
            <pc:sldMk cId="2117333123" sldId="2134804587"/>
            <ac:spMk id="10" creationId="{3C75130C-8124-4ECA-ADF2-F507FFFCA8AB}"/>
          </ac:spMkLst>
        </pc:spChg>
        <pc:spChg chg="mod">
          <ac:chgData name="Kumpulainen, Teemu (RC-FI DI PA)" userId="9e6db126-282e-46a7-b7b4-e4a6760ecd8a" providerId="ADAL" clId="{69F2DA64-4A59-4EB1-80C9-6C8B92288DA2}" dt="2023-04-04T10:38:04.999" v="789" actId="790"/>
          <ac:spMkLst>
            <pc:docMk/>
            <pc:sldMk cId="2117333123" sldId="2134804587"/>
            <ac:spMk id="11" creationId="{171876B3-0F52-4654-9767-27C436514688}"/>
          </ac:spMkLst>
        </pc:spChg>
        <pc:spChg chg="mod">
          <ac:chgData name="Kumpulainen, Teemu (RC-FI DI PA)" userId="9e6db126-282e-46a7-b7b4-e4a6760ecd8a" providerId="ADAL" clId="{69F2DA64-4A59-4EB1-80C9-6C8B92288DA2}" dt="2023-04-04T10:38:04.999" v="790" actId="790"/>
          <ac:spMkLst>
            <pc:docMk/>
            <pc:sldMk cId="2117333123" sldId="2134804587"/>
            <ac:spMk id="12" creationId="{76DC1A6B-347F-45A4-B5D1-5603FB8D2FDB}"/>
          </ac:spMkLst>
        </pc:spChg>
        <pc:spChg chg="mod">
          <ac:chgData name="Kumpulainen, Teemu (RC-FI DI PA)" userId="9e6db126-282e-46a7-b7b4-e4a6760ecd8a" providerId="ADAL" clId="{69F2DA64-4A59-4EB1-80C9-6C8B92288DA2}" dt="2023-04-04T10:38:05" v="791" actId="790"/>
          <ac:spMkLst>
            <pc:docMk/>
            <pc:sldMk cId="2117333123" sldId="2134804587"/>
            <ac:spMk id="13" creationId="{7F8B17DD-27C7-4861-AB12-195E56D2600B}"/>
          </ac:spMkLst>
        </pc:spChg>
        <pc:spChg chg="mod">
          <ac:chgData name="Kumpulainen, Teemu (RC-FI DI PA)" userId="9e6db126-282e-46a7-b7b4-e4a6760ecd8a" providerId="ADAL" clId="{69F2DA64-4A59-4EB1-80C9-6C8B92288DA2}" dt="2023-04-04T10:38:05.001" v="792" actId="790"/>
          <ac:spMkLst>
            <pc:docMk/>
            <pc:sldMk cId="2117333123" sldId="2134804587"/>
            <ac:spMk id="14" creationId="{D43FA3B1-B169-4B07-A49F-945D336331B3}"/>
          </ac:spMkLst>
        </pc:spChg>
        <pc:spChg chg="mod">
          <ac:chgData name="Kumpulainen, Teemu (RC-FI DI PA)" userId="9e6db126-282e-46a7-b7b4-e4a6760ecd8a" providerId="ADAL" clId="{69F2DA64-4A59-4EB1-80C9-6C8B92288DA2}" dt="2023-04-04T10:38:05.002" v="793" actId="790"/>
          <ac:spMkLst>
            <pc:docMk/>
            <pc:sldMk cId="2117333123" sldId="2134804587"/>
            <ac:spMk id="15" creationId="{A6E54B12-5DF2-4EA8-9A8F-8A1339B2A847}"/>
          </ac:spMkLst>
        </pc:spChg>
        <pc:spChg chg="mod">
          <ac:chgData name="Kumpulainen, Teemu (RC-FI DI PA)" userId="9e6db126-282e-46a7-b7b4-e4a6760ecd8a" providerId="ADAL" clId="{69F2DA64-4A59-4EB1-80C9-6C8B92288DA2}" dt="2023-04-04T10:38:05.004" v="794" actId="790"/>
          <ac:spMkLst>
            <pc:docMk/>
            <pc:sldMk cId="2117333123" sldId="2134804587"/>
            <ac:spMk id="16" creationId="{B5E0454D-B472-4A90-B00E-028AB492ADCB}"/>
          </ac:spMkLst>
        </pc:spChg>
        <pc:spChg chg="mod">
          <ac:chgData name="Kumpulainen, Teemu (RC-FI DI PA)" userId="9e6db126-282e-46a7-b7b4-e4a6760ecd8a" providerId="ADAL" clId="{69F2DA64-4A59-4EB1-80C9-6C8B92288DA2}" dt="2023-04-04T10:38:05.044" v="795" actId="790"/>
          <ac:spMkLst>
            <pc:docMk/>
            <pc:sldMk cId="2117333123" sldId="2134804587"/>
            <ac:spMk id="22" creationId="{4795FEF3-1183-4E1B-8C08-72B2D99D9F32}"/>
          </ac:spMkLst>
        </pc:spChg>
        <pc:spChg chg="mod">
          <ac:chgData name="Kumpulainen, Teemu (RC-FI DI PA)" userId="9e6db126-282e-46a7-b7b4-e4a6760ecd8a" providerId="ADAL" clId="{69F2DA64-4A59-4EB1-80C9-6C8B92288DA2}" dt="2023-04-04T10:38:05.044" v="796" actId="790"/>
          <ac:spMkLst>
            <pc:docMk/>
            <pc:sldMk cId="2117333123" sldId="2134804587"/>
            <ac:spMk id="23" creationId="{25BE86C2-E14D-475E-AF05-B32B31ADEEF5}"/>
          </ac:spMkLst>
        </pc:spChg>
        <pc:spChg chg="mod">
          <ac:chgData name="Kumpulainen, Teemu (RC-FI DI PA)" userId="9e6db126-282e-46a7-b7b4-e4a6760ecd8a" providerId="ADAL" clId="{69F2DA64-4A59-4EB1-80C9-6C8B92288DA2}" dt="2023-04-04T10:38:05.045" v="797" actId="790"/>
          <ac:spMkLst>
            <pc:docMk/>
            <pc:sldMk cId="2117333123" sldId="2134804587"/>
            <ac:spMk id="25" creationId="{76984AB7-0627-4E94-BA2D-FD73EF16A3D1}"/>
          </ac:spMkLst>
        </pc:spChg>
        <pc:spChg chg="mod">
          <ac:chgData name="Kumpulainen, Teemu (RC-FI DI PA)" userId="9e6db126-282e-46a7-b7b4-e4a6760ecd8a" providerId="ADAL" clId="{69F2DA64-4A59-4EB1-80C9-6C8B92288DA2}" dt="2023-04-04T10:38:05.045" v="798" actId="790"/>
          <ac:spMkLst>
            <pc:docMk/>
            <pc:sldMk cId="2117333123" sldId="2134804587"/>
            <ac:spMk id="26" creationId="{871256E6-A7F0-497C-8AC6-3329EF44CB62}"/>
          </ac:spMkLst>
        </pc:spChg>
        <pc:spChg chg="mod">
          <ac:chgData name="Kumpulainen, Teemu (RC-FI DI PA)" userId="9e6db126-282e-46a7-b7b4-e4a6760ecd8a" providerId="ADAL" clId="{69F2DA64-4A59-4EB1-80C9-6C8B92288DA2}" dt="2023-04-04T10:38:05.046" v="799" actId="790"/>
          <ac:spMkLst>
            <pc:docMk/>
            <pc:sldMk cId="2117333123" sldId="2134804587"/>
            <ac:spMk id="27" creationId="{781C6C68-0605-491E-8793-67845BA1B491}"/>
          </ac:spMkLst>
        </pc:spChg>
        <pc:spChg chg="mod">
          <ac:chgData name="Kumpulainen, Teemu (RC-FI DI PA)" userId="9e6db126-282e-46a7-b7b4-e4a6760ecd8a" providerId="ADAL" clId="{69F2DA64-4A59-4EB1-80C9-6C8B92288DA2}" dt="2023-04-04T10:38:05.046" v="800" actId="790"/>
          <ac:spMkLst>
            <pc:docMk/>
            <pc:sldMk cId="2117333123" sldId="2134804587"/>
            <ac:spMk id="28" creationId="{D061BF1C-3A98-434B-8294-43AD8A806770}"/>
          </ac:spMkLst>
        </pc:spChg>
        <pc:spChg chg="mod">
          <ac:chgData name="Kumpulainen, Teemu (RC-FI DI PA)" userId="9e6db126-282e-46a7-b7b4-e4a6760ecd8a" providerId="ADAL" clId="{69F2DA64-4A59-4EB1-80C9-6C8B92288DA2}" dt="2023-04-04T10:38:05.047" v="801" actId="790"/>
          <ac:spMkLst>
            <pc:docMk/>
            <pc:sldMk cId="2117333123" sldId="2134804587"/>
            <ac:spMk id="29" creationId="{4F3A67EE-FBAF-49C7-BAF9-B7A2BD35F482}"/>
          </ac:spMkLst>
        </pc:spChg>
        <pc:spChg chg="mod">
          <ac:chgData name="Kumpulainen, Teemu (RC-FI DI PA)" userId="9e6db126-282e-46a7-b7b4-e4a6760ecd8a" providerId="ADAL" clId="{69F2DA64-4A59-4EB1-80C9-6C8B92288DA2}" dt="2023-04-04T10:38:05.048" v="802" actId="790"/>
          <ac:spMkLst>
            <pc:docMk/>
            <pc:sldMk cId="2117333123" sldId="2134804587"/>
            <ac:spMk id="30" creationId="{19285BF1-66B4-4B42-9991-6A7EC75C9CE1}"/>
          </ac:spMkLst>
        </pc:spChg>
        <pc:spChg chg="mod">
          <ac:chgData name="Kumpulainen, Teemu (RC-FI DI PA)" userId="9e6db126-282e-46a7-b7b4-e4a6760ecd8a" providerId="ADAL" clId="{69F2DA64-4A59-4EB1-80C9-6C8B92288DA2}" dt="2023-04-04T10:38:05.048" v="803" actId="790"/>
          <ac:spMkLst>
            <pc:docMk/>
            <pc:sldMk cId="2117333123" sldId="2134804587"/>
            <ac:spMk id="31" creationId="{89A4F378-9F35-4A92-99F4-10019ECDAD12}"/>
          </ac:spMkLst>
        </pc:spChg>
        <pc:spChg chg="mod">
          <ac:chgData name="Kumpulainen, Teemu (RC-FI DI PA)" userId="9e6db126-282e-46a7-b7b4-e4a6760ecd8a" providerId="ADAL" clId="{69F2DA64-4A59-4EB1-80C9-6C8B92288DA2}" dt="2023-04-04T10:38:05.049" v="804" actId="790"/>
          <ac:spMkLst>
            <pc:docMk/>
            <pc:sldMk cId="2117333123" sldId="2134804587"/>
            <ac:spMk id="32" creationId="{1864BD69-0E55-4865-ABD2-5A3F93B22BA3}"/>
          </ac:spMkLst>
        </pc:spChg>
        <pc:spChg chg="mod">
          <ac:chgData name="Kumpulainen, Teemu (RC-FI DI PA)" userId="9e6db126-282e-46a7-b7b4-e4a6760ecd8a" providerId="ADAL" clId="{69F2DA64-4A59-4EB1-80C9-6C8B92288DA2}" dt="2023-04-04T10:38:05.049" v="805" actId="790"/>
          <ac:spMkLst>
            <pc:docMk/>
            <pc:sldMk cId="2117333123" sldId="2134804587"/>
            <ac:spMk id="33" creationId="{E166C787-CF4F-477B-A1A9-D26CDA35CC26}"/>
          </ac:spMkLst>
        </pc:spChg>
        <pc:spChg chg="mod">
          <ac:chgData name="Kumpulainen, Teemu (RC-FI DI PA)" userId="9e6db126-282e-46a7-b7b4-e4a6760ecd8a" providerId="ADAL" clId="{69F2DA64-4A59-4EB1-80C9-6C8B92288DA2}" dt="2023-04-04T10:38:05.050" v="806" actId="790"/>
          <ac:spMkLst>
            <pc:docMk/>
            <pc:sldMk cId="2117333123" sldId="2134804587"/>
            <ac:spMk id="35" creationId="{5E33B1AD-A306-4A17-A3F3-358D109EDD98}"/>
          </ac:spMkLst>
        </pc:spChg>
        <pc:spChg chg="mod">
          <ac:chgData name="Kumpulainen, Teemu (RC-FI DI PA)" userId="9e6db126-282e-46a7-b7b4-e4a6760ecd8a" providerId="ADAL" clId="{69F2DA64-4A59-4EB1-80C9-6C8B92288DA2}" dt="2023-04-04T10:38:05.050" v="807" actId="790"/>
          <ac:spMkLst>
            <pc:docMk/>
            <pc:sldMk cId="2117333123" sldId="2134804587"/>
            <ac:spMk id="36" creationId="{9E057481-6BF6-4AFA-A604-9D7089C8A81A}"/>
          </ac:spMkLst>
        </pc:spChg>
        <pc:spChg chg="mod">
          <ac:chgData name="Kumpulainen, Teemu (RC-FI DI PA)" userId="9e6db126-282e-46a7-b7b4-e4a6760ecd8a" providerId="ADAL" clId="{69F2DA64-4A59-4EB1-80C9-6C8B92288DA2}" dt="2023-04-04T10:38:05.051" v="808" actId="790"/>
          <ac:spMkLst>
            <pc:docMk/>
            <pc:sldMk cId="2117333123" sldId="2134804587"/>
            <ac:spMk id="38" creationId="{3DA76E3E-E8D2-45CB-891C-6A172DF51B81}"/>
          </ac:spMkLst>
        </pc:spChg>
        <pc:spChg chg="mod">
          <ac:chgData name="Kumpulainen, Teemu (RC-FI DI PA)" userId="9e6db126-282e-46a7-b7b4-e4a6760ecd8a" providerId="ADAL" clId="{69F2DA64-4A59-4EB1-80C9-6C8B92288DA2}" dt="2023-04-04T10:38:05.051" v="809" actId="790"/>
          <ac:spMkLst>
            <pc:docMk/>
            <pc:sldMk cId="2117333123" sldId="2134804587"/>
            <ac:spMk id="39" creationId="{0E9BAD5F-6AD4-4497-8A94-368B43E2D867}"/>
          </ac:spMkLst>
        </pc:spChg>
        <pc:spChg chg="mod">
          <ac:chgData name="Kumpulainen, Teemu (RC-FI DI PA)" userId="9e6db126-282e-46a7-b7b4-e4a6760ecd8a" providerId="ADAL" clId="{69F2DA64-4A59-4EB1-80C9-6C8B92288DA2}" dt="2023-04-04T10:38:05.052" v="810" actId="790"/>
          <ac:spMkLst>
            <pc:docMk/>
            <pc:sldMk cId="2117333123" sldId="2134804587"/>
            <ac:spMk id="40" creationId="{2B930F91-2C1F-4D32-A3D0-50039210C704}"/>
          </ac:spMkLst>
        </pc:spChg>
        <pc:spChg chg="mod">
          <ac:chgData name="Kumpulainen, Teemu (RC-FI DI PA)" userId="9e6db126-282e-46a7-b7b4-e4a6760ecd8a" providerId="ADAL" clId="{69F2DA64-4A59-4EB1-80C9-6C8B92288DA2}" dt="2023-04-04T10:38:05.052" v="811" actId="790"/>
          <ac:spMkLst>
            <pc:docMk/>
            <pc:sldMk cId="2117333123" sldId="2134804587"/>
            <ac:spMk id="41" creationId="{F25BD658-3466-41AE-9A77-F0C924EF6618}"/>
          </ac:spMkLst>
        </pc:spChg>
        <pc:spChg chg="mod">
          <ac:chgData name="Kumpulainen, Teemu (RC-FI DI PA)" userId="9e6db126-282e-46a7-b7b4-e4a6760ecd8a" providerId="ADAL" clId="{69F2DA64-4A59-4EB1-80C9-6C8B92288DA2}" dt="2023-04-04T10:38:05.053" v="812" actId="790"/>
          <ac:spMkLst>
            <pc:docMk/>
            <pc:sldMk cId="2117333123" sldId="2134804587"/>
            <ac:spMk id="42" creationId="{87F33E0E-9CD3-4255-B03C-F2D73FFCF66C}"/>
          </ac:spMkLst>
        </pc:spChg>
        <pc:spChg chg="mod">
          <ac:chgData name="Kumpulainen, Teemu (RC-FI DI PA)" userId="9e6db126-282e-46a7-b7b4-e4a6760ecd8a" providerId="ADAL" clId="{69F2DA64-4A59-4EB1-80C9-6C8B92288DA2}" dt="2023-04-04T10:38:05.054" v="813" actId="790"/>
          <ac:spMkLst>
            <pc:docMk/>
            <pc:sldMk cId="2117333123" sldId="2134804587"/>
            <ac:spMk id="43" creationId="{15D9E0BF-27CA-4DE2-9952-921CFE67F83C}"/>
          </ac:spMkLst>
        </pc:spChg>
        <pc:spChg chg="mod">
          <ac:chgData name="Kumpulainen, Teemu (RC-FI DI PA)" userId="9e6db126-282e-46a7-b7b4-e4a6760ecd8a" providerId="ADAL" clId="{69F2DA64-4A59-4EB1-80C9-6C8B92288DA2}" dt="2023-04-04T10:38:05.054" v="814" actId="790"/>
          <ac:spMkLst>
            <pc:docMk/>
            <pc:sldMk cId="2117333123" sldId="2134804587"/>
            <ac:spMk id="44" creationId="{E88CB426-9CD3-4F02-99A7-18B30DB3FD48}"/>
          </ac:spMkLst>
        </pc:spChg>
        <pc:spChg chg="mod">
          <ac:chgData name="Kumpulainen, Teemu (RC-FI DI PA)" userId="9e6db126-282e-46a7-b7b4-e4a6760ecd8a" providerId="ADAL" clId="{69F2DA64-4A59-4EB1-80C9-6C8B92288DA2}" dt="2023-04-04T10:38:05.055" v="815" actId="790"/>
          <ac:spMkLst>
            <pc:docMk/>
            <pc:sldMk cId="2117333123" sldId="2134804587"/>
            <ac:spMk id="45" creationId="{4C094D8F-9F4B-4E43-86DD-F2B63852CDEF}"/>
          </ac:spMkLst>
        </pc:spChg>
        <pc:spChg chg="mod">
          <ac:chgData name="Kumpulainen, Teemu (RC-FI DI PA)" userId="9e6db126-282e-46a7-b7b4-e4a6760ecd8a" providerId="ADAL" clId="{69F2DA64-4A59-4EB1-80C9-6C8B92288DA2}" dt="2023-04-04T10:38:05.055" v="816" actId="790"/>
          <ac:spMkLst>
            <pc:docMk/>
            <pc:sldMk cId="2117333123" sldId="2134804587"/>
            <ac:spMk id="46" creationId="{D5A2788F-62F8-4F2E-9B5F-AF1DC30972F4}"/>
          </ac:spMkLst>
        </pc:spChg>
        <pc:spChg chg="mod">
          <ac:chgData name="Kumpulainen, Teemu (RC-FI DI PA)" userId="9e6db126-282e-46a7-b7b4-e4a6760ecd8a" providerId="ADAL" clId="{69F2DA64-4A59-4EB1-80C9-6C8B92288DA2}" dt="2023-04-04T10:38:05.056" v="817" actId="790"/>
          <ac:spMkLst>
            <pc:docMk/>
            <pc:sldMk cId="2117333123" sldId="2134804587"/>
            <ac:spMk id="48" creationId="{FEFA4045-B7C8-4F25-9EBD-60F00654B11F}"/>
          </ac:spMkLst>
        </pc:spChg>
        <pc:spChg chg="mod">
          <ac:chgData name="Kumpulainen, Teemu (RC-FI DI PA)" userId="9e6db126-282e-46a7-b7b4-e4a6760ecd8a" providerId="ADAL" clId="{69F2DA64-4A59-4EB1-80C9-6C8B92288DA2}" dt="2023-04-04T10:38:05.056" v="818" actId="790"/>
          <ac:spMkLst>
            <pc:docMk/>
            <pc:sldMk cId="2117333123" sldId="2134804587"/>
            <ac:spMk id="49" creationId="{DE9FB297-F2D4-4875-8029-EFD5961FF149}"/>
          </ac:spMkLst>
        </pc:spChg>
        <pc:spChg chg="mod">
          <ac:chgData name="Kumpulainen, Teemu (RC-FI DI PA)" userId="9e6db126-282e-46a7-b7b4-e4a6760ecd8a" providerId="ADAL" clId="{69F2DA64-4A59-4EB1-80C9-6C8B92288DA2}" dt="2023-04-04T10:38:05.057" v="819" actId="790"/>
          <ac:spMkLst>
            <pc:docMk/>
            <pc:sldMk cId="2117333123" sldId="2134804587"/>
            <ac:spMk id="51" creationId="{6F12664A-0568-40F7-B04B-FBCBA9B34388}"/>
          </ac:spMkLst>
        </pc:spChg>
        <pc:spChg chg="mod">
          <ac:chgData name="Kumpulainen, Teemu (RC-FI DI PA)" userId="9e6db126-282e-46a7-b7b4-e4a6760ecd8a" providerId="ADAL" clId="{69F2DA64-4A59-4EB1-80C9-6C8B92288DA2}" dt="2023-04-04T10:38:05.057" v="820" actId="790"/>
          <ac:spMkLst>
            <pc:docMk/>
            <pc:sldMk cId="2117333123" sldId="2134804587"/>
            <ac:spMk id="52" creationId="{F35A86BA-B557-4CE4-AE76-2346E0DF889A}"/>
          </ac:spMkLst>
        </pc:spChg>
        <pc:spChg chg="mod">
          <ac:chgData name="Kumpulainen, Teemu (RC-FI DI PA)" userId="9e6db126-282e-46a7-b7b4-e4a6760ecd8a" providerId="ADAL" clId="{69F2DA64-4A59-4EB1-80C9-6C8B92288DA2}" dt="2023-04-04T10:38:05.058" v="821" actId="790"/>
          <ac:spMkLst>
            <pc:docMk/>
            <pc:sldMk cId="2117333123" sldId="2134804587"/>
            <ac:spMk id="53" creationId="{EA241548-3B5C-45E0-A9BF-8FB92244480D}"/>
          </ac:spMkLst>
        </pc:spChg>
        <pc:spChg chg="mod">
          <ac:chgData name="Kumpulainen, Teemu (RC-FI DI PA)" userId="9e6db126-282e-46a7-b7b4-e4a6760ecd8a" providerId="ADAL" clId="{69F2DA64-4A59-4EB1-80C9-6C8B92288DA2}" dt="2023-04-04T10:38:05.058" v="822" actId="790"/>
          <ac:spMkLst>
            <pc:docMk/>
            <pc:sldMk cId="2117333123" sldId="2134804587"/>
            <ac:spMk id="54" creationId="{963081B7-9B22-4A9E-ABD0-2B49DEAD36A3}"/>
          </ac:spMkLst>
        </pc:spChg>
        <pc:spChg chg="mod">
          <ac:chgData name="Kumpulainen, Teemu (RC-FI DI PA)" userId="9e6db126-282e-46a7-b7b4-e4a6760ecd8a" providerId="ADAL" clId="{69F2DA64-4A59-4EB1-80C9-6C8B92288DA2}" dt="2023-04-04T10:38:05.059" v="823" actId="790"/>
          <ac:spMkLst>
            <pc:docMk/>
            <pc:sldMk cId="2117333123" sldId="2134804587"/>
            <ac:spMk id="55" creationId="{AB92CEA4-EB73-480E-80F3-BF2E4A158966}"/>
          </ac:spMkLst>
        </pc:spChg>
        <pc:spChg chg="mod">
          <ac:chgData name="Kumpulainen, Teemu (RC-FI DI PA)" userId="9e6db126-282e-46a7-b7b4-e4a6760ecd8a" providerId="ADAL" clId="{69F2DA64-4A59-4EB1-80C9-6C8B92288DA2}" dt="2023-04-04T10:38:05.060" v="824" actId="790"/>
          <ac:spMkLst>
            <pc:docMk/>
            <pc:sldMk cId="2117333123" sldId="2134804587"/>
            <ac:spMk id="56" creationId="{9F9DE73B-5AF0-4AF4-9D66-D8758146207F}"/>
          </ac:spMkLst>
        </pc:spChg>
        <pc:spChg chg="mod">
          <ac:chgData name="Kumpulainen, Teemu (RC-FI DI PA)" userId="9e6db126-282e-46a7-b7b4-e4a6760ecd8a" providerId="ADAL" clId="{69F2DA64-4A59-4EB1-80C9-6C8B92288DA2}" dt="2023-04-04T10:38:05.060" v="825" actId="790"/>
          <ac:spMkLst>
            <pc:docMk/>
            <pc:sldMk cId="2117333123" sldId="2134804587"/>
            <ac:spMk id="57" creationId="{79EA2CCB-5AAD-4DB3-8E57-00006DCDD1BD}"/>
          </ac:spMkLst>
        </pc:spChg>
        <pc:spChg chg="mod">
          <ac:chgData name="Kumpulainen, Teemu (RC-FI DI PA)" userId="9e6db126-282e-46a7-b7b4-e4a6760ecd8a" providerId="ADAL" clId="{69F2DA64-4A59-4EB1-80C9-6C8B92288DA2}" dt="2023-04-04T10:38:05.061" v="826" actId="790"/>
          <ac:spMkLst>
            <pc:docMk/>
            <pc:sldMk cId="2117333123" sldId="2134804587"/>
            <ac:spMk id="58" creationId="{6569D20C-649F-4BD5-9DD1-EC4B2736797A}"/>
          </ac:spMkLst>
        </pc:spChg>
        <pc:spChg chg="mod">
          <ac:chgData name="Kumpulainen, Teemu (RC-FI DI PA)" userId="9e6db126-282e-46a7-b7b4-e4a6760ecd8a" providerId="ADAL" clId="{69F2DA64-4A59-4EB1-80C9-6C8B92288DA2}" dt="2023-04-04T10:38:05.061" v="827" actId="790"/>
          <ac:spMkLst>
            <pc:docMk/>
            <pc:sldMk cId="2117333123" sldId="2134804587"/>
            <ac:spMk id="59" creationId="{179C34CE-F8A8-459B-AEC2-52272095B613}"/>
          </ac:spMkLst>
        </pc:spChg>
        <pc:spChg chg="mod">
          <ac:chgData name="Kumpulainen, Teemu (RC-FI DI PA)" userId="9e6db126-282e-46a7-b7b4-e4a6760ecd8a" providerId="ADAL" clId="{69F2DA64-4A59-4EB1-80C9-6C8B92288DA2}" dt="2023-04-04T10:38:05.062" v="828" actId="790"/>
          <ac:spMkLst>
            <pc:docMk/>
            <pc:sldMk cId="2117333123" sldId="2134804587"/>
            <ac:spMk id="61" creationId="{D0CEF210-DDDE-41AD-BAED-7D7484B506DD}"/>
          </ac:spMkLst>
        </pc:spChg>
        <pc:spChg chg="mod">
          <ac:chgData name="Kumpulainen, Teemu (RC-FI DI PA)" userId="9e6db126-282e-46a7-b7b4-e4a6760ecd8a" providerId="ADAL" clId="{69F2DA64-4A59-4EB1-80C9-6C8B92288DA2}" dt="2023-04-04T10:38:05.062" v="829" actId="790"/>
          <ac:spMkLst>
            <pc:docMk/>
            <pc:sldMk cId="2117333123" sldId="2134804587"/>
            <ac:spMk id="62" creationId="{9EFBD5E3-A505-4522-A95C-201FE3B04636}"/>
          </ac:spMkLst>
        </pc:spChg>
        <pc:spChg chg="mod">
          <ac:chgData name="Kumpulainen, Teemu (RC-FI DI PA)" userId="9e6db126-282e-46a7-b7b4-e4a6760ecd8a" providerId="ADAL" clId="{69F2DA64-4A59-4EB1-80C9-6C8B92288DA2}" dt="2023-04-04T10:38:05.063" v="830" actId="790"/>
          <ac:spMkLst>
            <pc:docMk/>
            <pc:sldMk cId="2117333123" sldId="2134804587"/>
            <ac:spMk id="64" creationId="{F2408AD9-C7A5-409B-A151-31174B3272E5}"/>
          </ac:spMkLst>
        </pc:spChg>
        <pc:spChg chg="mod">
          <ac:chgData name="Kumpulainen, Teemu (RC-FI DI PA)" userId="9e6db126-282e-46a7-b7b4-e4a6760ecd8a" providerId="ADAL" clId="{69F2DA64-4A59-4EB1-80C9-6C8B92288DA2}" dt="2023-04-04T10:38:05.063" v="831" actId="790"/>
          <ac:spMkLst>
            <pc:docMk/>
            <pc:sldMk cId="2117333123" sldId="2134804587"/>
            <ac:spMk id="65" creationId="{7DD4AC1D-D729-4787-ACA2-E30B762180B0}"/>
          </ac:spMkLst>
        </pc:spChg>
        <pc:spChg chg="mod">
          <ac:chgData name="Kumpulainen, Teemu (RC-FI DI PA)" userId="9e6db126-282e-46a7-b7b4-e4a6760ecd8a" providerId="ADAL" clId="{69F2DA64-4A59-4EB1-80C9-6C8B92288DA2}" dt="2023-04-04T10:38:05.064" v="832" actId="790"/>
          <ac:spMkLst>
            <pc:docMk/>
            <pc:sldMk cId="2117333123" sldId="2134804587"/>
            <ac:spMk id="66" creationId="{DE226F6F-A364-4547-BC79-FD09E1C7D784}"/>
          </ac:spMkLst>
        </pc:spChg>
        <pc:spChg chg="mod">
          <ac:chgData name="Kumpulainen, Teemu (RC-FI DI PA)" userId="9e6db126-282e-46a7-b7b4-e4a6760ecd8a" providerId="ADAL" clId="{69F2DA64-4A59-4EB1-80C9-6C8B92288DA2}" dt="2023-04-04T10:38:05.064" v="833" actId="790"/>
          <ac:spMkLst>
            <pc:docMk/>
            <pc:sldMk cId="2117333123" sldId="2134804587"/>
            <ac:spMk id="67" creationId="{4B169490-0F9A-4ED5-877A-EC37B84C9329}"/>
          </ac:spMkLst>
        </pc:spChg>
        <pc:spChg chg="mod">
          <ac:chgData name="Kumpulainen, Teemu (RC-FI DI PA)" userId="9e6db126-282e-46a7-b7b4-e4a6760ecd8a" providerId="ADAL" clId="{69F2DA64-4A59-4EB1-80C9-6C8B92288DA2}" dt="2023-04-04T10:38:05.065" v="834" actId="790"/>
          <ac:spMkLst>
            <pc:docMk/>
            <pc:sldMk cId="2117333123" sldId="2134804587"/>
            <ac:spMk id="68" creationId="{D54854BF-9440-4A53-8C93-19C839C484E2}"/>
          </ac:spMkLst>
        </pc:spChg>
        <pc:spChg chg="mod">
          <ac:chgData name="Kumpulainen, Teemu (RC-FI DI PA)" userId="9e6db126-282e-46a7-b7b4-e4a6760ecd8a" providerId="ADAL" clId="{69F2DA64-4A59-4EB1-80C9-6C8B92288DA2}" dt="2023-04-04T10:38:05.066" v="835" actId="790"/>
          <ac:spMkLst>
            <pc:docMk/>
            <pc:sldMk cId="2117333123" sldId="2134804587"/>
            <ac:spMk id="69" creationId="{8FA48219-E56A-4B93-89B1-77011C1EAB2B}"/>
          </ac:spMkLst>
        </pc:spChg>
        <pc:spChg chg="mod">
          <ac:chgData name="Kumpulainen, Teemu (RC-FI DI PA)" userId="9e6db126-282e-46a7-b7b4-e4a6760ecd8a" providerId="ADAL" clId="{69F2DA64-4A59-4EB1-80C9-6C8B92288DA2}" dt="2023-04-04T10:38:05.066" v="836" actId="790"/>
          <ac:spMkLst>
            <pc:docMk/>
            <pc:sldMk cId="2117333123" sldId="2134804587"/>
            <ac:spMk id="70" creationId="{2C878E10-BFE8-4B6F-85A9-23B813ECADDE}"/>
          </ac:spMkLst>
        </pc:spChg>
        <pc:spChg chg="mod">
          <ac:chgData name="Kumpulainen, Teemu (RC-FI DI PA)" userId="9e6db126-282e-46a7-b7b4-e4a6760ecd8a" providerId="ADAL" clId="{69F2DA64-4A59-4EB1-80C9-6C8B92288DA2}" dt="2023-04-04T10:38:05.067" v="837" actId="790"/>
          <ac:spMkLst>
            <pc:docMk/>
            <pc:sldMk cId="2117333123" sldId="2134804587"/>
            <ac:spMk id="71" creationId="{B67EDCE8-90F1-47A1-A6A2-D88EAE4ADE3A}"/>
          </ac:spMkLst>
        </pc:spChg>
        <pc:spChg chg="mod">
          <ac:chgData name="Kumpulainen, Teemu (RC-FI DI PA)" userId="9e6db126-282e-46a7-b7b4-e4a6760ecd8a" providerId="ADAL" clId="{69F2DA64-4A59-4EB1-80C9-6C8B92288DA2}" dt="2023-04-04T10:38:05.067" v="838" actId="790"/>
          <ac:spMkLst>
            <pc:docMk/>
            <pc:sldMk cId="2117333123" sldId="2134804587"/>
            <ac:spMk id="73" creationId="{696D3B8F-DE67-49F4-8648-AA345CAFE367}"/>
          </ac:spMkLst>
        </pc:spChg>
        <pc:spChg chg="mod">
          <ac:chgData name="Kumpulainen, Teemu (RC-FI DI PA)" userId="9e6db126-282e-46a7-b7b4-e4a6760ecd8a" providerId="ADAL" clId="{69F2DA64-4A59-4EB1-80C9-6C8B92288DA2}" dt="2023-04-04T10:38:05.068" v="839" actId="790"/>
          <ac:spMkLst>
            <pc:docMk/>
            <pc:sldMk cId="2117333123" sldId="2134804587"/>
            <ac:spMk id="74" creationId="{59C674C0-0191-4192-BF78-D2A2DD73F0A0}"/>
          </ac:spMkLst>
        </pc:spChg>
        <pc:spChg chg="mod">
          <ac:chgData name="Kumpulainen, Teemu (RC-FI DI PA)" userId="9e6db126-282e-46a7-b7b4-e4a6760ecd8a" providerId="ADAL" clId="{69F2DA64-4A59-4EB1-80C9-6C8B92288DA2}" dt="2023-04-04T10:38:05.068" v="840" actId="790"/>
          <ac:spMkLst>
            <pc:docMk/>
            <pc:sldMk cId="2117333123" sldId="2134804587"/>
            <ac:spMk id="76" creationId="{A267EC63-D78A-4849-92BF-0D7D8EA3C402}"/>
          </ac:spMkLst>
        </pc:spChg>
        <pc:spChg chg="mod">
          <ac:chgData name="Kumpulainen, Teemu (RC-FI DI PA)" userId="9e6db126-282e-46a7-b7b4-e4a6760ecd8a" providerId="ADAL" clId="{69F2DA64-4A59-4EB1-80C9-6C8B92288DA2}" dt="2023-04-04T10:38:05.069" v="841" actId="790"/>
          <ac:spMkLst>
            <pc:docMk/>
            <pc:sldMk cId="2117333123" sldId="2134804587"/>
            <ac:spMk id="77" creationId="{564F5091-336C-4DD7-8D60-77B46FFB4599}"/>
          </ac:spMkLst>
        </pc:spChg>
        <pc:spChg chg="mod">
          <ac:chgData name="Kumpulainen, Teemu (RC-FI DI PA)" userId="9e6db126-282e-46a7-b7b4-e4a6760ecd8a" providerId="ADAL" clId="{69F2DA64-4A59-4EB1-80C9-6C8B92288DA2}" dt="2023-04-04T10:38:05.069" v="842" actId="790"/>
          <ac:spMkLst>
            <pc:docMk/>
            <pc:sldMk cId="2117333123" sldId="2134804587"/>
            <ac:spMk id="78" creationId="{976E4447-1CEC-4E06-B099-619E9D6CF86A}"/>
          </ac:spMkLst>
        </pc:spChg>
        <pc:spChg chg="mod">
          <ac:chgData name="Kumpulainen, Teemu (RC-FI DI PA)" userId="9e6db126-282e-46a7-b7b4-e4a6760ecd8a" providerId="ADAL" clId="{69F2DA64-4A59-4EB1-80C9-6C8B92288DA2}" dt="2023-04-04T10:38:05.070" v="843" actId="790"/>
          <ac:spMkLst>
            <pc:docMk/>
            <pc:sldMk cId="2117333123" sldId="2134804587"/>
            <ac:spMk id="79" creationId="{AD6F3CE4-50A0-4EBF-AC7C-483B815D01CD}"/>
          </ac:spMkLst>
        </pc:spChg>
        <pc:spChg chg="mod">
          <ac:chgData name="Kumpulainen, Teemu (RC-FI DI PA)" userId="9e6db126-282e-46a7-b7b4-e4a6760ecd8a" providerId="ADAL" clId="{69F2DA64-4A59-4EB1-80C9-6C8B92288DA2}" dt="2023-04-04T10:38:05.070" v="844" actId="790"/>
          <ac:spMkLst>
            <pc:docMk/>
            <pc:sldMk cId="2117333123" sldId="2134804587"/>
            <ac:spMk id="80" creationId="{792E5582-CE2D-4205-8DC2-AB70CBE8E8E4}"/>
          </ac:spMkLst>
        </pc:spChg>
        <pc:spChg chg="mod">
          <ac:chgData name="Kumpulainen, Teemu (RC-FI DI PA)" userId="9e6db126-282e-46a7-b7b4-e4a6760ecd8a" providerId="ADAL" clId="{69F2DA64-4A59-4EB1-80C9-6C8B92288DA2}" dt="2023-04-04T10:38:05.071" v="845" actId="790"/>
          <ac:spMkLst>
            <pc:docMk/>
            <pc:sldMk cId="2117333123" sldId="2134804587"/>
            <ac:spMk id="81" creationId="{B5A67B7B-D59E-4A84-8B43-F93D0947B577}"/>
          </ac:spMkLst>
        </pc:spChg>
        <pc:spChg chg="mod">
          <ac:chgData name="Kumpulainen, Teemu (RC-FI DI PA)" userId="9e6db126-282e-46a7-b7b4-e4a6760ecd8a" providerId="ADAL" clId="{69F2DA64-4A59-4EB1-80C9-6C8B92288DA2}" dt="2023-04-04T10:38:05.072" v="846" actId="790"/>
          <ac:spMkLst>
            <pc:docMk/>
            <pc:sldMk cId="2117333123" sldId="2134804587"/>
            <ac:spMk id="82" creationId="{5F1728E0-B7FE-450A-810B-687F7EE0E5CE}"/>
          </ac:spMkLst>
        </pc:spChg>
        <pc:spChg chg="mod">
          <ac:chgData name="Kumpulainen, Teemu (RC-FI DI PA)" userId="9e6db126-282e-46a7-b7b4-e4a6760ecd8a" providerId="ADAL" clId="{69F2DA64-4A59-4EB1-80C9-6C8B92288DA2}" dt="2023-04-04T10:38:05.072" v="847" actId="790"/>
          <ac:spMkLst>
            <pc:docMk/>
            <pc:sldMk cId="2117333123" sldId="2134804587"/>
            <ac:spMk id="83" creationId="{C9037932-B82B-478E-9445-C29058B992DD}"/>
          </ac:spMkLst>
        </pc:spChg>
        <pc:spChg chg="mod">
          <ac:chgData name="Kumpulainen, Teemu (RC-FI DI PA)" userId="9e6db126-282e-46a7-b7b4-e4a6760ecd8a" providerId="ADAL" clId="{69F2DA64-4A59-4EB1-80C9-6C8B92288DA2}" dt="2023-04-04T10:38:05.073" v="848" actId="790"/>
          <ac:spMkLst>
            <pc:docMk/>
            <pc:sldMk cId="2117333123" sldId="2134804587"/>
            <ac:spMk id="84" creationId="{4FC449F0-848C-42FE-B6EF-BA60ED1E3906}"/>
          </ac:spMkLst>
        </pc:spChg>
        <pc:spChg chg="mod">
          <ac:chgData name="Kumpulainen, Teemu (RC-FI DI PA)" userId="9e6db126-282e-46a7-b7b4-e4a6760ecd8a" providerId="ADAL" clId="{69F2DA64-4A59-4EB1-80C9-6C8B92288DA2}" dt="2023-04-04T10:38:05.073" v="849" actId="790"/>
          <ac:spMkLst>
            <pc:docMk/>
            <pc:sldMk cId="2117333123" sldId="2134804587"/>
            <ac:spMk id="85" creationId="{39DB415A-031D-4BE1-8805-541D7B2859BA}"/>
          </ac:spMkLst>
        </pc:spChg>
        <pc:spChg chg="mod">
          <ac:chgData name="Kumpulainen, Teemu (RC-FI DI PA)" userId="9e6db126-282e-46a7-b7b4-e4a6760ecd8a" providerId="ADAL" clId="{69F2DA64-4A59-4EB1-80C9-6C8B92288DA2}" dt="2023-04-04T10:38:05.074" v="850" actId="790"/>
          <ac:spMkLst>
            <pc:docMk/>
            <pc:sldMk cId="2117333123" sldId="2134804587"/>
            <ac:spMk id="86" creationId="{33359FC7-C968-489C-B033-649227503CA4}"/>
          </ac:spMkLst>
        </pc:spChg>
        <pc:spChg chg="mod">
          <ac:chgData name="Kumpulainen, Teemu (RC-FI DI PA)" userId="9e6db126-282e-46a7-b7b4-e4a6760ecd8a" providerId="ADAL" clId="{69F2DA64-4A59-4EB1-80C9-6C8B92288DA2}" dt="2023-04-04T10:38:05.074" v="851" actId="790"/>
          <ac:spMkLst>
            <pc:docMk/>
            <pc:sldMk cId="2117333123" sldId="2134804587"/>
            <ac:spMk id="87" creationId="{6E9D720F-227C-43BE-B398-A1DF3D4DEAA0}"/>
          </ac:spMkLst>
        </pc:spChg>
        <pc:spChg chg="mod">
          <ac:chgData name="Kumpulainen, Teemu (RC-FI DI PA)" userId="9e6db126-282e-46a7-b7b4-e4a6760ecd8a" providerId="ADAL" clId="{69F2DA64-4A59-4EB1-80C9-6C8B92288DA2}" dt="2023-04-04T10:38:05.075" v="852" actId="790"/>
          <ac:spMkLst>
            <pc:docMk/>
            <pc:sldMk cId="2117333123" sldId="2134804587"/>
            <ac:spMk id="88" creationId="{DE44A31C-9FD4-4EDF-979E-A2F793C4B96B}"/>
          </ac:spMkLst>
        </pc:spChg>
        <pc:spChg chg="mod">
          <ac:chgData name="Kumpulainen, Teemu (RC-FI DI PA)" userId="9e6db126-282e-46a7-b7b4-e4a6760ecd8a" providerId="ADAL" clId="{69F2DA64-4A59-4EB1-80C9-6C8B92288DA2}" dt="2023-04-04T10:38:05.075" v="853" actId="790"/>
          <ac:spMkLst>
            <pc:docMk/>
            <pc:sldMk cId="2117333123" sldId="2134804587"/>
            <ac:spMk id="89" creationId="{9376AADA-381A-404F-BC4B-163EC4A3141E}"/>
          </ac:spMkLst>
        </pc:spChg>
        <pc:spChg chg="mod">
          <ac:chgData name="Kumpulainen, Teemu (RC-FI DI PA)" userId="9e6db126-282e-46a7-b7b4-e4a6760ecd8a" providerId="ADAL" clId="{69F2DA64-4A59-4EB1-80C9-6C8B92288DA2}" dt="2023-04-04T10:38:05.076" v="854" actId="790"/>
          <ac:spMkLst>
            <pc:docMk/>
            <pc:sldMk cId="2117333123" sldId="2134804587"/>
            <ac:spMk id="90" creationId="{EBDC94CB-85C9-48ED-A54D-02FB1FFA520A}"/>
          </ac:spMkLst>
        </pc:spChg>
        <pc:spChg chg="mod">
          <ac:chgData name="Kumpulainen, Teemu (RC-FI DI PA)" userId="9e6db126-282e-46a7-b7b4-e4a6760ecd8a" providerId="ADAL" clId="{69F2DA64-4A59-4EB1-80C9-6C8B92288DA2}" dt="2023-04-04T10:38:05.077" v="855" actId="790"/>
          <ac:spMkLst>
            <pc:docMk/>
            <pc:sldMk cId="2117333123" sldId="2134804587"/>
            <ac:spMk id="91" creationId="{A49FDB20-9F21-47B3-A46A-6337A5831681}"/>
          </ac:spMkLst>
        </pc:spChg>
        <pc:spChg chg="mod">
          <ac:chgData name="Kumpulainen, Teemu (RC-FI DI PA)" userId="9e6db126-282e-46a7-b7b4-e4a6760ecd8a" providerId="ADAL" clId="{69F2DA64-4A59-4EB1-80C9-6C8B92288DA2}" dt="2023-04-04T10:38:05.077" v="856" actId="790"/>
          <ac:spMkLst>
            <pc:docMk/>
            <pc:sldMk cId="2117333123" sldId="2134804587"/>
            <ac:spMk id="92" creationId="{A88C2064-0C07-480D-88A7-99D53FED0250}"/>
          </ac:spMkLst>
        </pc:spChg>
        <pc:spChg chg="mod">
          <ac:chgData name="Kumpulainen, Teemu (RC-FI DI PA)" userId="9e6db126-282e-46a7-b7b4-e4a6760ecd8a" providerId="ADAL" clId="{69F2DA64-4A59-4EB1-80C9-6C8B92288DA2}" dt="2023-04-04T10:38:05.078" v="857" actId="790"/>
          <ac:spMkLst>
            <pc:docMk/>
            <pc:sldMk cId="2117333123" sldId="2134804587"/>
            <ac:spMk id="93" creationId="{E43CE90D-A4B9-4934-ADA9-DC347B1E8133}"/>
          </ac:spMkLst>
        </pc:spChg>
        <pc:spChg chg="mod">
          <ac:chgData name="Kumpulainen, Teemu (RC-FI DI PA)" userId="9e6db126-282e-46a7-b7b4-e4a6760ecd8a" providerId="ADAL" clId="{69F2DA64-4A59-4EB1-80C9-6C8B92288DA2}" dt="2023-04-04T10:38:05.078" v="858" actId="790"/>
          <ac:spMkLst>
            <pc:docMk/>
            <pc:sldMk cId="2117333123" sldId="2134804587"/>
            <ac:spMk id="94" creationId="{6B052E19-EAB7-4768-80CC-104938351914}"/>
          </ac:spMkLst>
        </pc:spChg>
        <pc:spChg chg="mod">
          <ac:chgData name="Kumpulainen, Teemu (RC-FI DI PA)" userId="9e6db126-282e-46a7-b7b4-e4a6760ecd8a" providerId="ADAL" clId="{69F2DA64-4A59-4EB1-80C9-6C8B92288DA2}" dt="2023-04-04T10:38:05.087" v="859" actId="790"/>
          <ac:spMkLst>
            <pc:docMk/>
            <pc:sldMk cId="2117333123" sldId="2134804587"/>
            <ac:spMk id="95" creationId="{D8A7AC43-6C87-4C45-8C8A-A83F5692C4B7}"/>
          </ac:spMkLst>
        </pc:spChg>
      </pc:sldChg>
      <pc:sldChg chg="modSp mod chgLayout modNotes">
        <pc:chgData name="Kumpulainen, Teemu (RC-FI DI PA)" userId="9e6db126-282e-46a7-b7b4-e4a6760ecd8a" providerId="ADAL" clId="{69F2DA64-4A59-4EB1-80C9-6C8B92288DA2}" dt="2023-04-04T11:13:12.570" v="1574" actId="700"/>
        <pc:sldMkLst>
          <pc:docMk/>
          <pc:sldMk cId="2214483444" sldId="2134804589"/>
        </pc:sldMkLst>
        <pc:spChg chg="mod ord">
          <ac:chgData name="Kumpulainen, Teemu (RC-FI DI PA)" userId="9e6db126-282e-46a7-b7b4-e4a6760ecd8a" providerId="ADAL" clId="{69F2DA64-4A59-4EB1-80C9-6C8B92288DA2}" dt="2023-04-04T11:13:12.570" v="1574" actId="700"/>
          <ac:spMkLst>
            <pc:docMk/>
            <pc:sldMk cId="2214483444" sldId="2134804589"/>
            <ac:spMk id="2" creationId="{A47CE7D2-A8DC-4EC0-9802-9FA7B4D54293}"/>
          </ac:spMkLst>
        </pc:spChg>
        <pc:spChg chg="mod ord">
          <ac:chgData name="Kumpulainen, Teemu (RC-FI DI PA)" userId="9e6db126-282e-46a7-b7b4-e4a6760ecd8a" providerId="ADAL" clId="{69F2DA64-4A59-4EB1-80C9-6C8B92288DA2}" dt="2023-04-04T11:13:12.570" v="1574" actId="700"/>
          <ac:spMkLst>
            <pc:docMk/>
            <pc:sldMk cId="2214483444" sldId="2134804589"/>
            <ac:spMk id="4" creationId="{848160B8-C51E-4C0E-BF68-0D8F771F7473}"/>
          </ac:spMkLst>
        </pc:spChg>
        <pc:spChg chg="mod">
          <ac:chgData name="Kumpulainen, Teemu (RC-FI DI PA)" userId="9e6db126-282e-46a7-b7b4-e4a6760ecd8a" providerId="ADAL" clId="{69F2DA64-4A59-4EB1-80C9-6C8B92288DA2}" dt="2023-04-04T10:38:05.161" v="930" actId="790"/>
          <ac:spMkLst>
            <pc:docMk/>
            <pc:sldMk cId="2214483444" sldId="2134804589"/>
            <ac:spMk id="14" creationId="{14CBA35E-DAFA-4D6E-A4BB-B7FDB90BB1C0}"/>
          </ac:spMkLst>
        </pc:spChg>
        <pc:spChg chg="mod">
          <ac:chgData name="Kumpulainen, Teemu (RC-FI DI PA)" userId="9e6db126-282e-46a7-b7b4-e4a6760ecd8a" providerId="ADAL" clId="{69F2DA64-4A59-4EB1-80C9-6C8B92288DA2}" dt="2023-04-04T10:38:05.162" v="931" actId="790"/>
          <ac:spMkLst>
            <pc:docMk/>
            <pc:sldMk cId="2214483444" sldId="2134804589"/>
            <ac:spMk id="15" creationId="{9B6AED44-44E7-4124-95D6-9AAF96C69BC3}"/>
          </ac:spMkLst>
        </pc:spChg>
        <pc:spChg chg="mod">
          <ac:chgData name="Kumpulainen, Teemu (RC-FI DI PA)" userId="9e6db126-282e-46a7-b7b4-e4a6760ecd8a" providerId="ADAL" clId="{69F2DA64-4A59-4EB1-80C9-6C8B92288DA2}" dt="2023-04-04T10:38:05.163" v="932" actId="790"/>
          <ac:spMkLst>
            <pc:docMk/>
            <pc:sldMk cId="2214483444" sldId="2134804589"/>
            <ac:spMk id="16" creationId="{A03B43EA-E323-40AB-A82F-5E3156C46778}"/>
          </ac:spMkLst>
        </pc:spChg>
        <pc:spChg chg="mod">
          <ac:chgData name="Kumpulainen, Teemu (RC-FI DI PA)" userId="9e6db126-282e-46a7-b7b4-e4a6760ecd8a" providerId="ADAL" clId="{69F2DA64-4A59-4EB1-80C9-6C8B92288DA2}" dt="2023-04-04T10:38:05.163" v="933" actId="790"/>
          <ac:spMkLst>
            <pc:docMk/>
            <pc:sldMk cId="2214483444" sldId="2134804589"/>
            <ac:spMk id="17" creationId="{586F1422-0C78-4091-9B54-AC167A866B3D}"/>
          </ac:spMkLst>
        </pc:spChg>
        <pc:spChg chg="mod">
          <ac:chgData name="Kumpulainen, Teemu (RC-FI DI PA)" userId="9e6db126-282e-46a7-b7b4-e4a6760ecd8a" providerId="ADAL" clId="{69F2DA64-4A59-4EB1-80C9-6C8B92288DA2}" dt="2023-04-04T10:38:05.164" v="934" actId="790"/>
          <ac:spMkLst>
            <pc:docMk/>
            <pc:sldMk cId="2214483444" sldId="2134804589"/>
            <ac:spMk id="18" creationId="{4E74034D-F00C-4CB4-BDEF-06E57977CF95}"/>
          </ac:spMkLst>
        </pc:spChg>
        <pc:spChg chg="mod">
          <ac:chgData name="Kumpulainen, Teemu (RC-FI DI PA)" userId="9e6db126-282e-46a7-b7b4-e4a6760ecd8a" providerId="ADAL" clId="{69F2DA64-4A59-4EB1-80C9-6C8B92288DA2}" dt="2023-04-04T10:38:05.164" v="935" actId="790"/>
          <ac:spMkLst>
            <pc:docMk/>
            <pc:sldMk cId="2214483444" sldId="2134804589"/>
            <ac:spMk id="19" creationId="{38E44A81-DC02-4958-85DD-FA48E8B2474C}"/>
          </ac:spMkLst>
        </pc:spChg>
        <pc:spChg chg="mod">
          <ac:chgData name="Kumpulainen, Teemu (RC-FI DI PA)" userId="9e6db126-282e-46a7-b7b4-e4a6760ecd8a" providerId="ADAL" clId="{69F2DA64-4A59-4EB1-80C9-6C8B92288DA2}" dt="2023-04-04T10:38:05.165" v="936" actId="790"/>
          <ac:spMkLst>
            <pc:docMk/>
            <pc:sldMk cId="2214483444" sldId="2134804589"/>
            <ac:spMk id="20" creationId="{84D01CBE-75CC-4BC9-A483-C419110D085B}"/>
          </ac:spMkLst>
        </pc:spChg>
        <pc:spChg chg="mod">
          <ac:chgData name="Kumpulainen, Teemu (RC-FI DI PA)" userId="9e6db126-282e-46a7-b7b4-e4a6760ecd8a" providerId="ADAL" clId="{69F2DA64-4A59-4EB1-80C9-6C8B92288DA2}" dt="2023-04-04T10:38:05.166" v="937" actId="790"/>
          <ac:spMkLst>
            <pc:docMk/>
            <pc:sldMk cId="2214483444" sldId="2134804589"/>
            <ac:spMk id="21" creationId="{AEA9D6B4-8A4B-4DB1-A503-174026EAB3BF}"/>
          </ac:spMkLst>
        </pc:spChg>
        <pc:spChg chg="mod">
          <ac:chgData name="Kumpulainen, Teemu (RC-FI DI PA)" userId="9e6db126-282e-46a7-b7b4-e4a6760ecd8a" providerId="ADAL" clId="{69F2DA64-4A59-4EB1-80C9-6C8B92288DA2}" dt="2023-04-04T10:38:05.166" v="938" actId="790"/>
          <ac:spMkLst>
            <pc:docMk/>
            <pc:sldMk cId="2214483444" sldId="2134804589"/>
            <ac:spMk id="22" creationId="{7F2486AD-C985-45D2-B3FD-568F25685CCD}"/>
          </ac:spMkLst>
        </pc:spChg>
        <pc:spChg chg="mod">
          <ac:chgData name="Kumpulainen, Teemu (RC-FI DI PA)" userId="9e6db126-282e-46a7-b7b4-e4a6760ecd8a" providerId="ADAL" clId="{69F2DA64-4A59-4EB1-80C9-6C8B92288DA2}" dt="2023-04-04T10:38:05.167" v="939" actId="790"/>
          <ac:spMkLst>
            <pc:docMk/>
            <pc:sldMk cId="2214483444" sldId="2134804589"/>
            <ac:spMk id="23" creationId="{661A7390-AC6E-48A7-BB3E-C487252845E6}"/>
          </ac:spMkLst>
        </pc:spChg>
        <pc:spChg chg="mod">
          <ac:chgData name="Kumpulainen, Teemu (RC-FI DI PA)" userId="9e6db126-282e-46a7-b7b4-e4a6760ecd8a" providerId="ADAL" clId="{69F2DA64-4A59-4EB1-80C9-6C8B92288DA2}" dt="2023-04-04T10:38:05.150" v="918" actId="790"/>
          <ac:spMkLst>
            <pc:docMk/>
            <pc:sldMk cId="2214483444" sldId="2134804589"/>
            <ac:spMk id="24" creationId="{ABA9DC93-4FEF-4E61-A879-23AE7A814A14}"/>
          </ac:spMkLst>
        </pc:spChg>
        <pc:spChg chg="mod">
          <ac:chgData name="Kumpulainen, Teemu (RC-FI DI PA)" userId="9e6db126-282e-46a7-b7b4-e4a6760ecd8a" providerId="ADAL" clId="{69F2DA64-4A59-4EB1-80C9-6C8B92288DA2}" dt="2023-04-04T10:38:05.151" v="919" actId="790"/>
          <ac:spMkLst>
            <pc:docMk/>
            <pc:sldMk cId="2214483444" sldId="2134804589"/>
            <ac:spMk id="25" creationId="{A23A9DCF-5C1D-48EB-AA73-DFBB1136ED22}"/>
          </ac:spMkLst>
        </pc:spChg>
        <pc:spChg chg="mod">
          <ac:chgData name="Kumpulainen, Teemu (RC-FI DI PA)" userId="9e6db126-282e-46a7-b7b4-e4a6760ecd8a" providerId="ADAL" clId="{69F2DA64-4A59-4EB1-80C9-6C8B92288DA2}" dt="2023-04-04T10:38:05.151" v="920" actId="790"/>
          <ac:spMkLst>
            <pc:docMk/>
            <pc:sldMk cId="2214483444" sldId="2134804589"/>
            <ac:spMk id="26" creationId="{B201423E-179A-4BD1-94CA-DD7CAADB1166}"/>
          </ac:spMkLst>
        </pc:spChg>
        <pc:spChg chg="mod">
          <ac:chgData name="Kumpulainen, Teemu (RC-FI DI PA)" userId="9e6db126-282e-46a7-b7b4-e4a6760ecd8a" providerId="ADAL" clId="{69F2DA64-4A59-4EB1-80C9-6C8B92288DA2}" dt="2023-04-04T10:38:05.152" v="921" actId="790"/>
          <ac:spMkLst>
            <pc:docMk/>
            <pc:sldMk cId="2214483444" sldId="2134804589"/>
            <ac:spMk id="27" creationId="{47892E04-4B2A-43A3-B071-FE5EAE33D993}"/>
          </ac:spMkLst>
        </pc:spChg>
        <pc:spChg chg="mod">
          <ac:chgData name="Kumpulainen, Teemu (RC-FI DI PA)" userId="9e6db126-282e-46a7-b7b4-e4a6760ecd8a" providerId="ADAL" clId="{69F2DA64-4A59-4EB1-80C9-6C8B92288DA2}" dt="2023-04-04T10:38:05.152" v="922" actId="790"/>
          <ac:spMkLst>
            <pc:docMk/>
            <pc:sldMk cId="2214483444" sldId="2134804589"/>
            <ac:spMk id="28" creationId="{5AEE3BD0-151D-42BD-B89D-0C3BD58735F7}"/>
          </ac:spMkLst>
        </pc:spChg>
        <pc:spChg chg="mod">
          <ac:chgData name="Kumpulainen, Teemu (RC-FI DI PA)" userId="9e6db126-282e-46a7-b7b4-e4a6760ecd8a" providerId="ADAL" clId="{69F2DA64-4A59-4EB1-80C9-6C8B92288DA2}" dt="2023-04-04T10:38:05.153" v="923" actId="790"/>
          <ac:spMkLst>
            <pc:docMk/>
            <pc:sldMk cId="2214483444" sldId="2134804589"/>
            <ac:spMk id="29" creationId="{B96CACC8-C4E4-4448-BB92-8DBD6C1324C4}"/>
          </ac:spMkLst>
        </pc:spChg>
        <pc:spChg chg="mod">
          <ac:chgData name="Kumpulainen, Teemu (RC-FI DI PA)" userId="9e6db126-282e-46a7-b7b4-e4a6760ecd8a" providerId="ADAL" clId="{69F2DA64-4A59-4EB1-80C9-6C8B92288DA2}" dt="2023-04-04T10:38:05.153" v="924" actId="790"/>
          <ac:spMkLst>
            <pc:docMk/>
            <pc:sldMk cId="2214483444" sldId="2134804589"/>
            <ac:spMk id="30" creationId="{16F1C1E2-0FED-4D47-B0F3-710DECE0F211}"/>
          </ac:spMkLst>
        </pc:spChg>
        <pc:spChg chg="mod">
          <ac:chgData name="Kumpulainen, Teemu (RC-FI DI PA)" userId="9e6db126-282e-46a7-b7b4-e4a6760ecd8a" providerId="ADAL" clId="{69F2DA64-4A59-4EB1-80C9-6C8B92288DA2}" dt="2023-04-04T10:38:05.154" v="925" actId="790"/>
          <ac:spMkLst>
            <pc:docMk/>
            <pc:sldMk cId="2214483444" sldId="2134804589"/>
            <ac:spMk id="31" creationId="{B37350D5-D7FA-4C65-8410-5F1F0FD703D4}"/>
          </ac:spMkLst>
        </pc:spChg>
        <pc:spChg chg="mod">
          <ac:chgData name="Kumpulainen, Teemu (RC-FI DI PA)" userId="9e6db126-282e-46a7-b7b4-e4a6760ecd8a" providerId="ADAL" clId="{69F2DA64-4A59-4EB1-80C9-6C8B92288DA2}" dt="2023-04-04T10:38:05.154" v="926" actId="790"/>
          <ac:spMkLst>
            <pc:docMk/>
            <pc:sldMk cId="2214483444" sldId="2134804589"/>
            <ac:spMk id="32" creationId="{D06E52F7-4C4A-4434-A86E-D61685BF3290}"/>
          </ac:spMkLst>
        </pc:spChg>
        <pc:spChg chg="mod">
          <ac:chgData name="Kumpulainen, Teemu (RC-FI DI PA)" userId="9e6db126-282e-46a7-b7b4-e4a6760ecd8a" providerId="ADAL" clId="{69F2DA64-4A59-4EB1-80C9-6C8B92288DA2}" dt="2023-04-04T10:38:05.155" v="927" actId="790"/>
          <ac:spMkLst>
            <pc:docMk/>
            <pc:sldMk cId="2214483444" sldId="2134804589"/>
            <ac:spMk id="33" creationId="{C8A6309B-2DC1-4B4C-A802-ED8C4E5C6070}"/>
          </ac:spMkLst>
        </pc:spChg>
        <pc:spChg chg="mod ord">
          <ac:chgData name="Kumpulainen, Teemu (RC-FI DI PA)" userId="9e6db126-282e-46a7-b7b4-e4a6760ecd8a" providerId="ADAL" clId="{69F2DA64-4A59-4EB1-80C9-6C8B92288DA2}" dt="2023-04-04T11:13:12.570" v="1574" actId="700"/>
          <ac:spMkLst>
            <pc:docMk/>
            <pc:sldMk cId="2214483444" sldId="2134804589"/>
            <ac:spMk id="44" creationId="{0D47B1C7-CA76-436C-AAD7-E29F55D245D5}"/>
          </ac:spMkLst>
        </pc:spChg>
        <pc:spChg chg="mod">
          <ac:chgData name="Kumpulainen, Teemu (RC-FI DI PA)" userId="9e6db126-282e-46a7-b7b4-e4a6760ecd8a" providerId="ADAL" clId="{69F2DA64-4A59-4EB1-80C9-6C8B92288DA2}" dt="2023-04-04T10:38:05.140" v="911" actId="790"/>
          <ac:spMkLst>
            <pc:docMk/>
            <pc:sldMk cId="2214483444" sldId="2134804589"/>
            <ac:spMk id="69" creationId="{7135510E-8D10-F9FA-83BE-D94C142510FF}"/>
          </ac:spMkLst>
        </pc:spChg>
        <pc:spChg chg="mod">
          <ac:chgData name="Kumpulainen, Teemu (RC-FI DI PA)" userId="9e6db126-282e-46a7-b7b4-e4a6760ecd8a" providerId="ADAL" clId="{69F2DA64-4A59-4EB1-80C9-6C8B92288DA2}" dt="2023-04-04T10:38:05.141" v="912" actId="790"/>
          <ac:spMkLst>
            <pc:docMk/>
            <pc:sldMk cId="2214483444" sldId="2134804589"/>
            <ac:spMk id="70" creationId="{4927537A-C5B6-6990-C3A0-1BC56806367D}"/>
          </ac:spMkLst>
        </pc:spChg>
        <pc:spChg chg="mod">
          <ac:chgData name="Kumpulainen, Teemu (RC-FI DI PA)" userId="9e6db126-282e-46a7-b7b4-e4a6760ecd8a" providerId="ADAL" clId="{69F2DA64-4A59-4EB1-80C9-6C8B92288DA2}" dt="2023-04-04T10:38:05.142" v="913" actId="790"/>
          <ac:spMkLst>
            <pc:docMk/>
            <pc:sldMk cId="2214483444" sldId="2134804589"/>
            <ac:spMk id="71" creationId="{131D231B-9EEB-EBED-558F-3D4C708A98A7}"/>
          </ac:spMkLst>
        </pc:spChg>
        <pc:spChg chg="mod">
          <ac:chgData name="Kumpulainen, Teemu (RC-FI DI PA)" userId="9e6db126-282e-46a7-b7b4-e4a6760ecd8a" providerId="ADAL" clId="{69F2DA64-4A59-4EB1-80C9-6C8B92288DA2}" dt="2023-04-04T10:38:05.143" v="914" actId="790"/>
          <ac:spMkLst>
            <pc:docMk/>
            <pc:sldMk cId="2214483444" sldId="2134804589"/>
            <ac:spMk id="72" creationId="{AFB128F1-FF60-497C-A928-77B1DF225111}"/>
          </ac:spMkLst>
        </pc:spChg>
        <pc:spChg chg="mod">
          <ac:chgData name="Kumpulainen, Teemu (RC-FI DI PA)" userId="9e6db126-282e-46a7-b7b4-e4a6760ecd8a" providerId="ADAL" clId="{69F2DA64-4A59-4EB1-80C9-6C8B92288DA2}" dt="2023-04-04T10:38:05.148" v="915" actId="790"/>
          <ac:spMkLst>
            <pc:docMk/>
            <pc:sldMk cId="2214483444" sldId="2134804589"/>
            <ac:spMk id="73" creationId="{21B7D41B-0A38-5E4E-34CF-860D2A43509E}"/>
          </ac:spMkLst>
        </pc:spChg>
        <pc:spChg chg="mod">
          <ac:chgData name="Kumpulainen, Teemu (RC-FI DI PA)" userId="9e6db126-282e-46a7-b7b4-e4a6760ecd8a" providerId="ADAL" clId="{69F2DA64-4A59-4EB1-80C9-6C8B92288DA2}" dt="2023-04-04T10:38:05.149" v="916" actId="790"/>
          <ac:spMkLst>
            <pc:docMk/>
            <pc:sldMk cId="2214483444" sldId="2134804589"/>
            <ac:spMk id="74" creationId="{07D5114B-212D-7DA7-CF46-17180CE5C2C1}"/>
          </ac:spMkLst>
        </pc:spChg>
        <pc:spChg chg="mod">
          <ac:chgData name="Kumpulainen, Teemu (RC-FI DI PA)" userId="9e6db126-282e-46a7-b7b4-e4a6760ecd8a" providerId="ADAL" clId="{69F2DA64-4A59-4EB1-80C9-6C8B92288DA2}" dt="2023-04-04T10:38:05.150" v="917" actId="790"/>
          <ac:spMkLst>
            <pc:docMk/>
            <pc:sldMk cId="2214483444" sldId="2134804589"/>
            <ac:spMk id="75" creationId="{24F142C9-AD08-C759-E338-BA0FF3E116E1}"/>
          </ac:spMkLst>
        </pc:spChg>
      </pc:sldChg>
      <pc:sldChg chg="modSp del mod modNotes">
        <pc:chgData name="Kumpulainen, Teemu (RC-FI DI PA)" userId="9e6db126-282e-46a7-b7b4-e4a6760ecd8a" providerId="ADAL" clId="{69F2DA64-4A59-4EB1-80C9-6C8B92288DA2}" dt="2023-04-04T10:38:58.705" v="1556" actId="47"/>
        <pc:sldMkLst>
          <pc:docMk/>
          <pc:sldMk cId="626039376" sldId="2134804592"/>
        </pc:sldMkLst>
        <pc:spChg chg="mod">
          <ac:chgData name="Kumpulainen, Teemu (RC-FI DI PA)" userId="9e6db126-282e-46a7-b7b4-e4a6760ecd8a" providerId="ADAL" clId="{69F2DA64-4A59-4EB1-80C9-6C8B92288DA2}" dt="2023-04-04T10:38:05.443" v="1326" actId="790"/>
          <ac:spMkLst>
            <pc:docMk/>
            <pc:sldMk cId="626039376" sldId="2134804592"/>
            <ac:spMk id="2" creationId="{002CBDA6-072B-4169-94DD-6C345A609E38}"/>
          </ac:spMkLst>
        </pc:spChg>
        <pc:spChg chg="mod">
          <ac:chgData name="Kumpulainen, Teemu (RC-FI DI PA)" userId="9e6db126-282e-46a7-b7b4-e4a6760ecd8a" providerId="ADAL" clId="{69F2DA64-4A59-4EB1-80C9-6C8B92288DA2}" dt="2023-04-04T10:38:05.444" v="1327" actId="790"/>
          <ac:spMkLst>
            <pc:docMk/>
            <pc:sldMk cId="626039376" sldId="2134804592"/>
            <ac:spMk id="4" creationId="{6E547E1A-5C26-4CB4-B9D1-F887E735AD6F}"/>
          </ac:spMkLst>
        </pc:spChg>
        <pc:spChg chg="mod">
          <ac:chgData name="Kumpulainen, Teemu (RC-FI DI PA)" userId="9e6db126-282e-46a7-b7b4-e4a6760ecd8a" providerId="ADAL" clId="{69F2DA64-4A59-4EB1-80C9-6C8B92288DA2}" dt="2023-04-04T10:38:05.445" v="1328" actId="790"/>
          <ac:spMkLst>
            <pc:docMk/>
            <pc:sldMk cId="626039376" sldId="2134804592"/>
            <ac:spMk id="5" creationId="{CBC4EEC1-3FA0-4AE8-A769-87AE4D103A2E}"/>
          </ac:spMkLst>
        </pc:spChg>
        <pc:spChg chg="mod">
          <ac:chgData name="Kumpulainen, Teemu (RC-FI DI PA)" userId="9e6db126-282e-46a7-b7b4-e4a6760ecd8a" providerId="ADAL" clId="{69F2DA64-4A59-4EB1-80C9-6C8B92288DA2}" dt="2023-04-04T10:38:05.446" v="1329" actId="790"/>
          <ac:spMkLst>
            <pc:docMk/>
            <pc:sldMk cId="626039376" sldId="2134804592"/>
            <ac:spMk id="6" creationId="{E56411D1-D091-4CBD-A935-D892D97BAA0E}"/>
          </ac:spMkLst>
        </pc:spChg>
        <pc:spChg chg="mod">
          <ac:chgData name="Kumpulainen, Teemu (RC-FI DI PA)" userId="9e6db126-282e-46a7-b7b4-e4a6760ecd8a" providerId="ADAL" clId="{69F2DA64-4A59-4EB1-80C9-6C8B92288DA2}" dt="2023-04-04T10:38:05.447" v="1330" actId="790"/>
          <ac:spMkLst>
            <pc:docMk/>
            <pc:sldMk cId="626039376" sldId="2134804592"/>
            <ac:spMk id="9" creationId="{2E6595CA-71E6-47B8-95E7-239F65344194}"/>
          </ac:spMkLst>
        </pc:spChg>
        <pc:spChg chg="mod">
          <ac:chgData name="Kumpulainen, Teemu (RC-FI DI PA)" userId="9e6db126-282e-46a7-b7b4-e4a6760ecd8a" providerId="ADAL" clId="{69F2DA64-4A59-4EB1-80C9-6C8B92288DA2}" dt="2023-04-04T10:38:05.448" v="1331" actId="790"/>
          <ac:spMkLst>
            <pc:docMk/>
            <pc:sldMk cId="626039376" sldId="2134804592"/>
            <ac:spMk id="10" creationId="{B65DC228-CE5E-4DFF-852C-91407B280087}"/>
          </ac:spMkLst>
        </pc:spChg>
        <pc:spChg chg="mod">
          <ac:chgData name="Kumpulainen, Teemu (RC-FI DI PA)" userId="9e6db126-282e-46a7-b7b4-e4a6760ecd8a" providerId="ADAL" clId="{69F2DA64-4A59-4EB1-80C9-6C8B92288DA2}" dt="2023-04-04T10:38:05.448" v="1332" actId="790"/>
          <ac:spMkLst>
            <pc:docMk/>
            <pc:sldMk cId="626039376" sldId="2134804592"/>
            <ac:spMk id="11" creationId="{E807A242-DFEC-44DE-8180-65689A210FEC}"/>
          </ac:spMkLst>
        </pc:spChg>
        <pc:spChg chg="mod">
          <ac:chgData name="Kumpulainen, Teemu (RC-FI DI PA)" userId="9e6db126-282e-46a7-b7b4-e4a6760ecd8a" providerId="ADAL" clId="{69F2DA64-4A59-4EB1-80C9-6C8B92288DA2}" dt="2023-04-04T10:38:05.448" v="1333" actId="790"/>
          <ac:spMkLst>
            <pc:docMk/>
            <pc:sldMk cId="626039376" sldId="2134804592"/>
            <ac:spMk id="12" creationId="{2C091249-8433-4536-9A79-AA615B5682A7}"/>
          </ac:spMkLst>
        </pc:spChg>
        <pc:spChg chg="mod">
          <ac:chgData name="Kumpulainen, Teemu (RC-FI DI PA)" userId="9e6db126-282e-46a7-b7b4-e4a6760ecd8a" providerId="ADAL" clId="{69F2DA64-4A59-4EB1-80C9-6C8B92288DA2}" dt="2023-04-04T10:38:05.449" v="1334" actId="790"/>
          <ac:spMkLst>
            <pc:docMk/>
            <pc:sldMk cId="626039376" sldId="2134804592"/>
            <ac:spMk id="13" creationId="{340C6679-15EE-481F-9A60-6D1E51A5319F}"/>
          </ac:spMkLst>
        </pc:spChg>
        <pc:spChg chg="mod">
          <ac:chgData name="Kumpulainen, Teemu (RC-FI DI PA)" userId="9e6db126-282e-46a7-b7b4-e4a6760ecd8a" providerId="ADAL" clId="{69F2DA64-4A59-4EB1-80C9-6C8B92288DA2}" dt="2023-04-04T10:38:05.450" v="1335" actId="790"/>
          <ac:spMkLst>
            <pc:docMk/>
            <pc:sldMk cId="626039376" sldId="2134804592"/>
            <ac:spMk id="14" creationId="{4D11D952-CA88-4F77-9A95-E7B575F2ADBF}"/>
          </ac:spMkLst>
        </pc:spChg>
        <pc:spChg chg="mod">
          <ac:chgData name="Kumpulainen, Teemu (RC-FI DI PA)" userId="9e6db126-282e-46a7-b7b4-e4a6760ecd8a" providerId="ADAL" clId="{69F2DA64-4A59-4EB1-80C9-6C8B92288DA2}" dt="2023-04-04T10:38:05.451" v="1336" actId="790"/>
          <ac:spMkLst>
            <pc:docMk/>
            <pc:sldMk cId="626039376" sldId="2134804592"/>
            <ac:spMk id="16" creationId="{08CC350B-43D6-4B36-B374-D833C85D9974}"/>
          </ac:spMkLst>
        </pc:spChg>
        <pc:spChg chg="mod">
          <ac:chgData name="Kumpulainen, Teemu (RC-FI DI PA)" userId="9e6db126-282e-46a7-b7b4-e4a6760ecd8a" providerId="ADAL" clId="{69F2DA64-4A59-4EB1-80C9-6C8B92288DA2}" dt="2023-04-04T10:38:05.452" v="1337" actId="790"/>
          <ac:spMkLst>
            <pc:docMk/>
            <pc:sldMk cId="626039376" sldId="2134804592"/>
            <ac:spMk id="17" creationId="{0C67B23F-5DF5-45C5-85EA-C279248F5392}"/>
          </ac:spMkLst>
        </pc:spChg>
        <pc:spChg chg="mod">
          <ac:chgData name="Kumpulainen, Teemu (RC-FI DI PA)" userId="9e6db126-282e-46a7-b7b4-e4a6760ecd8a" providerId="ADAL" clId="{69F2DA64-4A59-4EB1-80C9-6C8B92288DA2}" dt="2023-04-04T10:38:05.453" v="1338" actId="790"/>
          <ac:spMkLst>
            <pc:docMk/>
            <pc:sldMk cId="626039376" sldId="2134804592"/>
            <ac:spMk id="22" creationId="{46B69437-CB92-40C6-906A-9EBD7AE50D4E}"/>
          </ac:spMkLst>
        </pc:spChg>
        <pc:spChg chg="mod">
          <ac:chgData name="Kumpulainen, Teemu (RC-FI DI PA)" userId="9e6db126-282e-46a7-b7b4-e4a6760ecd8a" providerId="ADAL" clId="{69F2DA64-4A59-4EB1-80C9-6C8B92288DA2}" dt="2023-04-04T10:38:05.453" v="1339"/>
          <ac:spMkLst>
            <pc:docMk/>
            <pc:sldMk cId="626039376" sldId="2134804592"/>
            <ac:spMk id="25" creationId="{76DA89D5-0E54-4DF1-9822-1A9B8BF6777E}"/>
          </ac:spMkLst>
        </pc:spChg>
        <pc:spChg chg="mod">
          <ac:chgData name="Kumpulainen, Teemu (RC-FI DI PA)" userId="9e6db126-282e-46a7-b7b4-e4a6760ecd8a" providerId="ADAL" clId="{69F2DA64-4A59-4EB1-80C9-6C8B92288DA2}" dt="2023-04-04T10:38:05.455" v="1340" actId="790"/>
          <ac:spMkLst>
            <pc:docMk/>
            <pc:sldMk cId="626039376" sldId="2134804592"/>
            <ac:spMk id="28" creationId="{F8E08616-635D-448E-86EC-DE4F6D93C75F}"/>
          </ac:spMkLst>
        </pc:spChg>
        <pc:spChg chg="mod">
          <ac:chgData name="Kumpulainen, Teemu (RC-FI DI PA)" userId="9e6db126-282e-46a7-b7b4-e4a6760ecd8a" providerId="ADAL" clId="{69F2DA64-4A59-4EB1-80C9-6C8B92288DA2}" dt="2023-04-04T10:38:05.455" v="1341" actId="790"/>
          <ac:spMkLst>
            <pc:docMk/>
            <pc:sldMk cId="626039376" sldId="2134804592"/>
            <ac:spMk id="29" creationId="{E0014CFE-60B7-45B3-831C-68CFF6EE0746}"/>
          </ac:spMkLst>
        </pc:spChg>
        <pc:spChg chg="mod">
          <ac:chgData name="Kumpulainen, Teemu (RC-FI DI PA)" userId="9e6db126-282e-46a7-b7b4-e4a6760ecd8a" providerId="ADAL" clId="{69F2DA64-4A59-4EB1-80C9-6C8B92288DA2}" dt="2023-04-04T10:38:05.456" v="1342" actId="790"/>
          <ac:spMkLst>
            <pc:docMk/>
            <pc:sldMk cId="626039376" sldId="2134804592"/>
            <ac:spMk id="33" creationId="{6BD2F68E-3484-453E-B632-01E062626F5C}"/>
          </ac:spMkLst>
        </pc:spChg>
        <pc:spChg chg="mod">
          <ac:chgData name="Kumpulainen, Teemu (RC-FI DI PA)" userId="9e6db126-282e-46a7-b7b4-e4a6760ecd8a" providerId="ADAL" clId="{69F2DA64-4A59-4EB1-80C9-6C8B92288DA2}" dt="2023-04-04T10:38:05.457" v="1343" actId="790"/>
          <ac:spMkLst>
            <pc:docMk/>
            <pc:sldMk cId="626039376" sldId="2134804592"/>
            <ac:spMk id="34" creationId="{9C48E48C-3937-476C-B32A-6EF9C24D974B}"/>
          </ac:spMkLst>
        </pc:spChg>
        <pc:spChg chg="mod">
          <ac:chgData name="Kumpulainen, Teemu (RC-FI DI PA)" userId="9e6db126-282e-46a7-b7b4-e4a6760ecd8a" providerId="ADAL" clId="{69F2DA64-4A59-4EB1-80C9-6C8B92288DA2}" dt="2023-04-04T10:38:05.457" v="1344" actId="790"/>
          <ac:spMkLst>
            <pc:docMk/>
            <pc:sldMk cId="626039376" sldId="2134804592"/>
            <ac:spMk id="35" creationId="{8BF1E3FB-4184-4F2F-9D41-A4116AF61415}"/>
          </ac:spMkLst>
        </pc:spChg>
        <pc:spChg chg="mod">
          <ac:chgData name="Kumpulainen, Teemu (RC-FI DI PA)" userId="9e6db126-282e-46a7-b7b4-e4a6760ecd8a" providerId="ADAL" clId="{69F2DA64-4A59-4EB1-80C9-6C8B92288DA2}" dt="2023-04-04T10:38:05.458" v="1345" actId="790"/>
          <ac:spMkLst>
            <pc:docMk/>
            <pc:sldMk cId="626039376" sldId="2134804592"/>
            <ac:spMk id="36" creationId="{EF952780-F161-4E48-ABB4-10DA4CD52D2D}"/>
          </ac:spMkLst>
        </pc:spChg>
        <pc:spChg chg="mod">
          <ac:chgData name="Kumpulainen, Teemu (RC-FI DI PA)" userId="9e6db126-282e-46a7-b7b4-e4a6760ecd8a" providerId="ADAL" clId="{69F2DA64-4A59-4EB1-80C9-6C8B92288DA2}" dt="2023-04-04T10:38:05.459" v="1346" actId="790"/>
          <ac:spMkLst>
            <pc:docMk/>
            <pc:sldMk cId="626039376" sldId="2134804592"/>
            <ac:spMk id="37" creationId="{09E9AB72-7E0B-4388-82E1-6AA052C742F8}"/>
          </ac:spMkLst>
        </pc:spChg>
      </pc:sldChg>
      <pc:sldChg chg="modSp mod modNotes">
        <pc:chgData name="Kumpulainen, Teemu (RC-FI DI PA)" userId="9e6db126-282e-46a7-b7b4-e4a6760ecd8a" providerId="ADAL" clId="{69F2DA64-4A59-4EB1-80C9-6C8B92288DA2}" dt="2023-04-04T10:38:04.967" v="765" actId="790"/>
        <pc:sldMkLst>
          <pc:docMk/>
          <pc:sldMk cId="3491651417" sldId="2134804638"/>
        </pc:sldMkLst>
        <pc:spChg chg="mod">
          <ac:chgData name="Kumpulainen, Teemu (RC-FI DI PA)" userId="9e6db126-282e-46a7-b7b4-e4a6760ecd8a" providerId="ADAL" clId="{69F2DA64-4A59-4EB1-80C9-6C8B92288DA2}" dt="2023-04-04T10:38:04.960" v="754" actId="790"/>
          <ac:spMkLst>
            <pc:docMk/>
            <pc:sldMk cId="3491651417" sldId="2134804638"/>
            <ac:spMk id="2" creationId="{90B41DC5-242F-4023-8B9B-7B10E18C5FE7}"/>
          </ac:spMkLst>
        </pc:spChg>
        <pc:spChg chg="mod">
          <ac:chgData name="Kumpulainen, Teemu (RC-FI DI PA)" userId="9e6db126-282e-46a7-b7b4-e4a6760ecd8a" providerId="ADAL" clId="{69F2DA64-4A59-4EB1-80C9-6C8B92288DA2}" dt="2023-04-04T10:38:04.961" v="755" actId="790"/>
          <ac:spMkLst>
            <pc:docMk/>
            <pc:sldMk cId="3491651417" sldId="2134804638"/>
            <ac:spMk id="3" creationId="{80359F6E-8412-415F-BD28-5575D98D862C}"/>
          </ac:spMkLst>
        </pc:spChg>
        <pc:spChg chg="mod">
          <ac:chgData name="Kumpulainen, Teemu (RC-FI DI PA)" userId="9e6db126-282e-46a7-b7b4-e4a6760ecd8a" providerId="ADAL" clId="{69F2DA64-4A59-4EB1-80C9-6C8B92288DA2}" dt="2023-04-04T10:38:04.961" v="756" actId="790"/>
          <ac:spMkLst>
            <pc:docMk/>
            <pc:sldMk cId="3491651417" sldId="2134804638"/>
            <ac:spMk id="4" creationId="{D586A2DD-FAD2-468B-BB6E-81D75C6CD815}"/>
          </ac:spMkLst>
        </pc:spChg>
        <pc:spChg chg="mod">
          <ac:chgData name="Kumpulainen, Teemu (RC-FI DI PA)" userId="9e6db126-282e-46a7-b7b4-e4a6760ecd8a" providerId="ADAL" clId="{69F2DA64-4A59-4EB1-80C9-6C8B92288DA2}" dt="2023-04-04T10:38:04.962" v="757" actId="790"/>
          <ac:spMkLst>
            <pc:docMk/>
            <pc:sldMk cId="3491651417" sldId="2134804638"/>
            <ac:spMk id="11" creationId="{7EA82768-DC14-4394-980B-FBDB176AAD2F}"/>
          </ac:spMkLst>
        </pc:spChg>
        <pc:spChg chg="mod">
          <ac:chgData name="Kumpulainen, Teemu (RC-FI DI PA)" userId="9e6db126-282e-46a7-b7b4-e4a6760ecd8a" providerId="ADAL" clId="{69F2DA64-4A59-4EB1-80C9-6C8B92288DA2}" dt="2023-04-04T10:38:04.962" v="758" actId="790"/>
          <ac:spMkLst>
            <pc:docMk/>
            <pc:sldMk cId="3491651417" sldId="2134804638"/>
            <ac:spMk id="12" creationId="{FF4663C2-FF44-4719-98D8-E36D3487F806}"/>
          </ac:spMkLst>
        </pc:spChg>
        <pc:spChg chg="mod">
          <ac:chgData name="Kumpulainen, Teemu (RC-FI DI PA)" userId="9e6db126-282e-46a7-b7b4-e4a6760ecd8a" providerId="ADAL" clId="{69F2DA64-4A59-4EB1-80C9-6C8B92288DA2}" dt="2023-04-04T10:38:04.963" v="759" actId="790"/>
          <ac:spMkLst>
            <pc:docMk/>
            <pc:sldMk cId="3491651417" sldId="2134804638"/>
            <ac:spMk id="13" creationId="{4CF3AE1A-34C9-46E9-A522-DBA67D4AC578}"/>
          </ac:spMkLst>
        </pc:spChg>
        <pc:spChg chg="mod">
          <ac:chgData name="Kumpulainen, Teemu (RC-FI DI PA)" userId="9e6db126-282e-46a7-b7b4-e4a6760ecd8a" providerId="ADAL" clId="{69F2DA64-4A59-4EB1-80C9-6C8B92288DA2}" dt="2023-04-04T10:38:04.964" v="760" actId="790"/>
          <ac:spMkLst>
            <pc:docMk/>
            <pc:sldMk cId="3491651417" sldId="2134804638"/>
            <ac:spMk id="14" creationId="{5D20CF72-C973-4F12-9686-E908668DF897}"/>
          </ac:spMkLst>
        </pc:spChg>
        <pc:spChg chg="mod">
          <ac:chgData name="Kumpulainen, Teemu (RC-FI DI PA)" userId="9e6db126-282e-46a7-b7b4-e4a6760ecd8a" providerId="ADAL" clId="{69F2DA64-4A59-4EB1-80C9-6C8B92288DA2}" dt="2023-04-04T10:38:04.965" v="761" actId="790"/>
          <ac:spMkLst>
            <pc:docMk/>
            <pc:sldMk cId="3491651417" sldId="2134804638"/>
            <ac:spMk id="15" creationId="{3AABF73D-3525-415F-906F-FF2C13C4DBE7}"/>
          </ac:spMkLst>
        </pc:spChg>
        <pc:spChg chg="mod">
          <ac:chgData name="Kumpulainen, Teemu (RC-FI DI PA)" userId="9e6db126-282e-46a7-b7b4-e4a6760ecd8a" providerId="ADAL" clId="{69F2DA64-4A59-4EB1-80C9-6C8B92288DA2}" dt="2023-04-04T10:38:04.965" v="762" actId="790"/>
          <ac:spMkLst>
            <pc:docMk/>
            <pc:sldMk cId="3491651417" sldId="2134804638"/>
            <ac:spMk id="16" creationId="{FB108004-AC94-4988-90DE-9CE6FA360438}"/>
          </ac:spMkLst>
        </pc:spChg>
      </pc:sldChg>
      <pc:sldChg chg="modSp mod modNotes">
        <pc:chgData name="Kumpulainen, Teemu (RC-FI DI PA)" userId="9e6db126-282e-46a7-b7b4-e4a6760ecd8a" providerId="ADAL" clId="{69F2DA64-4A59-4EB1-80C9-6C8B92288DA2}" dt="2023-04-04T10:38:05.442" v="1324" actId="790"/>
        <pc:sldMkLst>
          <pc:docMk/>
          <pc:sldMk cId="1455653034" sldId="2134804643"/>
        </pc:sldMkLst>
        <pc:spChg chg="mod">
          <ac:chgData name="Kumpulainen, Teemu (RC-FI DI PA)" userId="9e6db126-282e-46a7-b7b4-e4a6760ecd8a" providerId="ADAL" clId="{69F2DA64-4A59-4EB1-80C9-6C8B92288DA2}" dt="2023-04-04T10:38:05.372" v="1217"/>
          <ac:spMkLst>
            <pc:docMk/>
            <pc:sldMk cId="1455653034" sldId="2134804643"/>
            <ac:spMk id="2" creationId="{B104F0C1-EB8F-479B-AB54-762C32297824}"/>
          </ac:spMkLst>
        </pc:spChg>
        <pc:spChg chg="mod">
          <ac:chgData name="Kumpulainen, Teemu (RC-FI DI PA)" userId="9e6db126-282e-46a7-b7b4-e4a6760ecd8a" providerId="ADAL" clId="{69F2DA64-4A59-4EB1-80C9-6C8B92288DA2}" dt="2023-04-04T10:38:05.440" v="1321" actId="790"/>
          <ac:spMkLst>
            <pc:docMk/>
            <pc:sldMk cId="1455653034" sldId="2134804643"/>
            <ac:spMk id="4" creationId="{211212AF-F355-465F-BB4A-E121B1596F0D}"/>
          </ac:spMkLst>
        </pc:spChg>
        <pc:spChg chg="mod">
          <ac:chgData name="Kumpulainen, Teemu (RC-FI DI PA)" userId="9e6db126-282e-46a7-b7b4-e4a6760ecd8a" providerId="ADAL" clId="{69F2DA64-4A59-4EB1-80C9-6C8B92288DA2}" dt="2023-04-04T10:38:05.373" v="1218" actId="790"/>
          <ac:spMkLst>
            <pc:docMk/>
            <pc:sldMk cId="1455653034" sldId="2134804643"/>
            <ac:spMk id="5" creationId="{73A8C045-C03E-4F62-BA46-081B16D60C96}"/>
          </ac:spMkLst>
        </pc:spChg>
        <pc:spChg chg="mod">
          <ac:chgData name="Kumpulainen, Teemu (RC-FI DI PA)" userId="9e6db126-282e-46a7-b7b4-e4a6760ecd8a" providerId="ADAL" clId="{69F2DA64-4A59-4EB1-80C9-6C8B92288DA2}" dt="2023-04-04T10:38:05.439" v="1320" actId="790"/>
          <ac:spMkLst>
            <pc:docMk/>
            <pc:sldMk cId="1455653034" sldId="2134804643"/>
            <ac:spMk id="7" creationId="{A252542C-6A52-46E4-A9E1-9ED9FEF3217C}"/>
          </ac:spMkLst>
        </pc:spChg>
        <pc:spChg chg="mod">
          <ac:chgData name="Kumpulainen, Teemu (RC-FI DI PA)" userId="9e6db126-282e-46a7-b7b4-e4a6760ecd8a" providerId="ADAL" clId="{69F2DA64-4A59-4EB1-80C9-6C8B92288DA2}" dt="2023-04-04T10:38:05.376" v="1223" actId="790"/>
          <ac:spMkLst>
            <pc:docMk/>
            <pc:sldMk cId="1455653034" sldId="2134804643"/>
            <ac:spMk id="15" creationId="{765884F9-5D82-4156-A84E-6D92E1734AD1}"/>
          </ac:spMkLst>
        </pc:spChg>
        <pc:spChg chg="mod">
          <ac:chgData name="Kumpulainen, Teemu (RC-FI DI PA)" userId="9e6db126-282e-46a7-b7b4-e4a6760ecd8a" providerId="ADAL" clId="{69F2DA64-4A59-4EB1-80C9-6C8B92288DA2}" dt="2023-04-04T10:38:05.376" v="1224" actId="790"/>
          <ac:spMkLst>
            <pc:docMk/>
            <pc:sldMk cId="1455653034" sldId="2134804643"/>
            <ac:spMk id="16" creationId="{5321CBA2-62CD-493D-BB9D-1C55A5A85F4F}"/>
          </ac:spMkLst>
        </pc:spChg>
        <pc:spChg chg="mod">
          <ac:chgData name="Kumpulainen, Teemu (RC-FI DI PA)" userId="9e6db126-282e-46a7-b7b4-e4a6760ecd8a" providerId="ADAL" clId="{69F2DA64-4A59-4EB1-80C9-6C8B92288DA2}" dt="2023-04-04T10:38:05.377" v="1225" actId="790"/>
          <ac:spMkLst>
            <pc:docMk/>
            <pc:sldMk cId="1455653034" sldId="2134804643"/>
            <ac:spMk id="17" creationId="{77BA2C95-5986-4378-AE98-85102225EBC3}"/>
          </ac:spMkLst>
        </pc:spChg>
        <pc:spChg chg="mod">
          <ac:chgData name="Kumpulainen, Teemu (RC-FI DI PA)" userId="9e6db126-282e-46a7-b7b4-e4a6760ecd8a" providerId="ADAL" clId="{69F2DA64-4A59-4EB1-80C9-6C8B92288DA2}" dt="2023-04-04T10:38:05.377" v="1226" actId="790"/>
          <ac:spMkLst>
            <pc:docMk/>
            <pc:sldMk cId="1455653034" sldId="2134804643"/>
            <ac:spMk id="18" creationId="{5CA492C7-68F6-4CA7-9FAC-963FBAE33A1E}"/>
          </ac:spMkLst>
        </pc:spChg>
        <pc:spChg chg="mod">
          <ac:chgData name="Kumpulainen, Teemu (RC-FI DI PA)" userId="9e6db126-282e-46a7-b7b4-e4a6760ecd8a" providerId="ADAL" clId="{69F2DA64-4A59-4EB1-80C9-6C8B92288DA2}" dt="2023-04-04T10:38:05.378" v="1227" actId="790"/>
          <ac:spMkLst>
            <pc:docMk/>
            <pc:sldMk cId="1455653034" sldId="2134804643"/>
            <ac:spMk id="19" creationId="{0D500B8F-6AD5-4994-841A-6216145B889E}"/>
          </ac:spMkLst>
        </pc:spChg>
        <pc:spChg chg="mod">
          <ac:chgData name="Kumpulainen, Teemu (RC-FI DI PA)" userId="9e6db126-282e-46a7-b7b4-e4a6760ecd8a" providerId="ADAL" clId="{69F2DA64-4A59-4EB1-80C9-6C8B92288DA2}" dt="2023-04-04T10:38:05.378" v="1228" actId="790"/>
          <ac:spMkLst>
            <pc:docMk/>
            <pc:sldMk cId="1455653034" sldId="2134804643"/>
            <ac:spMk id="20" creationId="{6B675EBA-8E4C-45E8-913E-5829C58BFC73}"/>
          </ac:spMkLst>
        </pc:spChg>
        <pc:spChg chg="mod">
          <ac:chgData name="Kumpulainen, Teemu (RC-FI DI PA)" userId="9e6db126-282e-46a7-b7b4-e4a6760ecd8a" providerId="ADAL" clId="{69F2DA64-4A59-4EB1-80C9-6C8B92288DA2}" dt="2023-04-04T10:38:05.379" v="1229" actId="790"/>
          <ac:spMkLst>
            <pc:docMk/>
            <pc:sldMk cId="1455653034" sldId="2134804643"/>
            <ac:spMk id="21" creationId="{8323979E-DF0F-44A3-9F8A-195E786BAFFC}"/>
          </ac:spMkLst>
        </pc:spChg>
        <pc:spChg chg="mod">
          <ac:chgData name="Kumpulainen, Teemu (RC-FI DI PA)" userId="9e6db126-282e-46a7-b7b4-e4a6760ecd8a" providerId="ADAL" clId="{69F2DA64-4A59-4EB1-80C9-6C8B92288DA2}" dt="2023-04-04T10:38:05.379" v="1230" actId="790"/>
          <ac:spMkLst>
            <pc:docMk/>
            <pc:sldMk cId="1455653034" sldId="2134804643"/>
            <ac:spMk id="22" creationId="{50D7ED08-9378-436A-84FD-887CA6BD632E}"/>
          </ac:spMkLst>
        </pc:spChg>
        <pc:spChg chg="mod">
          <ac:chgData name="Kumpulainen, Teemu (RC-FI DI PA)" userId="9e6db126-282e-46a7-b7b4-e4a6760ecd8a" providerId="ADAL" clId="{69F2DA64-4A59-4EB1-80C9-6C8B92288DA2}" dt="2023-04-04T10:38:05.380" v="1231" actId="790"/>
          <ac:spMkLst>
            <pc:docMk/>
            <pc:sldMk cId="1455653034" sldId="2134804643"/>
            <ac:spMk id="23" creationId="{4E6E4599-2F7B-4037-ABC9-2F084BB05C58}"/>
          </ac:spMkLst>
        </pc:spChg>
        <pc:spChg chg="mod">
          <ac:chgData name="Kumpulainen, Teemu (RC-FI DI PA)" userId="9e6db126-282e-46a7-b7b4-e4a6760ecd8a" providerId="ADAL" clId="{69F2DA64-4A59-4EB1-80C9-6C8B92288DA2}" dt="2023-04-04T10:38:05.380" v="1232" actId="790"/>
          <ac:spMkLst>
            <pc:docMk/>
            <pc:sldMk cId="1455653034" sldId="2134804643"/>
            <ac:spMk id="24" creationId="{2A584D7B-A0CF-4028-949E-0C551CF3825E}"/>
          </ac:spMkLst>
        </pc:spChg>
        <pc:spChg chg="mod">
          <ac:chgData name="Kumpulainen, Teemu (RC-FI DI PA)" userId="9e6db126-282e-46a7-b7b4-e4a6760ecd8a" providerId="ADAL" clId="{69F2DA64-4A59-4EB1-80C9-6C8B92288DA2}" dt="2023-04-04T10:38:05.381" v="1233" actId="790"/>
          <ac:spMkLst>
            <pc:docMk/>
            <pc:sldMk cId="1455653034" sldId="2134804643"/>
            <ac:spMk id="25" creationId="{C6E01494-7D4F-4E68-8745-B28ED37AEC06}"/>
          </ac:spMkLst>
        </pc:spChg>
        <pc:spChg chg="mod">
          <ac:chgData name="Kumpulainen, Teemu (RC-FI DI PA)" userId="9e6db126-282e-46a7-b7b4-e4a6760ecd8a" providerId="ADAL" clId="{69F2DA64-4A59-4EB1-80C9-6C8B92288DA2}" dt="2023-04-04T10:38:05.373" v="1219" actId="790"/>
          <ac:spMkLst>
            <pc:docMk/>
            <pc:sldMk cId="1455653034" sldId="2134804643"/>
            <ac:spMk id="26" creationId="{E53D33C4-7F7A-4FFC-A257-39BE742CDB93}"/>
          </ac:spMkLst>
        </pc:spChg>
        <pc:spChg chg="mod">
          <ac:chgData name="Kumpulainen, Teemu (RC-FI DI PA)" userId="9e6db126-282e-46a7-b7b4-e4a6760ecd8a" providerId="ADAL" clId="{69F2DA64-4A59-4EB1-80C9-6C8B92288DA2}" dt="2023-04-04T10:38:05.381" v="1234" actId="790"/>
          <ac:spMkLst>
            <pc:docMk/>
            <pc:sldMk cId="1455653034" sldId="2134804643"/>
            <ac:spMk id="27" creationId="{AFA43119-B3AF-4B01-8382-3DE9AE65DE44}"/>
          </ac:spMkLst>
        </pc:spChg>
        <pc:spChg chg="mod">
          <ac:chgData name="Kumpulainen, Teemu (RC-FI DI PA)" userId="9e6db126-282e-46a7-b7b4-e4a6760ecd8a" providerId="ADAL" clId="{69F2DA64-4A59-4EB1-80C9-6C8B92288DA2}" dt="2023-04-04T10:38:05.382" v="1235" actId="790"/>
          <ac:spMkLst>
            <pc:docMk/>
            <pc:sldMk cId="1455653034" sldId="2134804643"/>
            <ac:spMk id="28" creationId="{C3BE747F-85A5-46B5-9017-D57F1DBEC31F}"/>
          </ac:spMkLst>
        </pc:spChg>
        <pc:spChg chg="mod">
          <ac:chgData name="Kumpulainen, Teemu (RC-FI DI PA)" userId="9e6db126-282e-46a7-b7b4-e4a6760ecd8a" providerId="ADAL" clId="{69F2DA64-4A59-4EB1-80C9-6C8B92288DA2}" dt="2023-04-04T10:38:05.384" v="1236" actId="790"/>
          <ac:spMkLst>
            <pc:docMk/>
            <pc:sldMk cId="1455653034" sldId="2134804643"/>
            <ac:spMk id="29" creationId="{3D0A3DA6-306E-4931-A63D-D88B75B24C11}"/>
          </ac:spMkLst>
        </pc:spChg>
        <pc:spChg chg="mod">
          <ac:chgData name="Kumpulainen, Teemu (RC-FI DI PA)" userId="9e6db126-282e-46a7-b7b4-e4a6760ecd8a" providerId="ADAL" clId="{69F2DA64-4A59-4EB1-80C9-6C8B92288DA2}" dt="2023-04-04T10:38:05.385" v="1237" actId="790"/>
          <ac:spMkLst>
            <pc:docMk/>
            <pc:sldMk cId="1455653034" sldId="2134804643"/>
            <ac:spMk id="30" creationId="{E823C1E3-1456-4E5F-B61F-0FFA54745DAA}"/>
          </ac:spMkLst>
        </pc:spChg>
        <pc:spChg chg="mod">
          <ac:chgData name="Kumpulainen, Teemu (RC-FI DI PA)" userId="9e6db126-282e-46a7-b7b4-e4a6760ecd8a" providerId="ADAL" clId="{69F2DA64-4A59-4EB1-80C9-6C8B92288DA2}" dt="2023-04-04T10:38:05.386" v="1238" actId="790"/>
          <ac:spMkLst>
            <pc:docMk/>
            <pc:sldMk cId="1455653034" sldId="2134804643"/>
            <ac:spMk id="31" creationId="{343B8C43-E2C1-4462-BBA7-122BF601A672}"/>
          </ac:spMkLst>
        </pc:spChg>
        <pc:spChg chg="mod">
          <ac:chgData name="Kumpulainen, Teemu (RC-FI DI PA)" userId="9e6db126-282e-46a7-b7b4-e4a6760ecd8a" providerId="ADAL" clId="{69F2DA64-4A59-4EB1-80C9-6C8B92288DA2}" dt="2023-04-04T10:38:05.387" v="1239" actId="790"/>
          <ac:spMkLst>
            <pc:docMk/>
            <pc:sldMk cId="1455653034" sldId="2134804643"/>
            <ac:spMk id="32" creationId="{82F5BB41-B707-4C08-8D36-26AD3C3A2385}"/>
          </ac:spMkLst>
        </pc:spChg>
        <pc:spChg chg="mod">
          <ac:chgData name="Kumpulainen, Teemu (RC-FI DI PA)" userId="9e6db126-282e-46a7-b7b4-e4a6760ecd8a" providerId="ADAL" clId="{69F2DA64-4A59-4EB1-80C9-6C8B92288DA2}" dt="2023-04-04T10:38:05.392" v="1240" actId="790"/>
          <ac:spMkLst>
            <pc:docMk/>
            <pc:sldMk cId="1455653034" sldId="2134804643"/>
            <ac:spMk id="33" creationId="{E417ED85-06C2-4CF7-9983-CC45FC8506AF}"/>
          </ac:spMkLst>
        </pc:spChg>
        <pc:spChg chg="mod">
          <ac:chgData name="Kumpulainen, Teemu (RC-FI DI PA)" userId="9e6db126-282e-46a7-b7b4-e4a6760ecd8a" providerId="ADAL" clId="{69F2DA64-4A59-4EB1-80C9-6C8B92288DA2}" dt="2023-04-04T10:38:05.393" v="1241" actId="790"/>
          <ac:spMkLst>
            <pc:docMk/>
            <pc:sldMk cId="1455653034" sldId="2134804643"/>
            <ac:spMk id="34" creationId="{0F96FEFF-B613-4B43-9F60-7E356C7DC728}"/>
          </ac:spMkLst>
        </pc:spChg>
        <pc:spChg chg="mod">
          <ac:chgData name="Kumpulainen, Teemu (RC-FI DI PA)" userId="9e6db126-282e-46a7-b7b4-e4a6760ecd8a" providerId="ADAL" clId="{69F2DA64-4A59-4EB1-80C9-6C8B92288DA2}" dt="2023-04-04T10:38:05.393" v="1242" actId="790"/>
          <ac:spMkLst>
            <pc:docMk/>
            <pc:sldMk cId="1455653034" sldId="2134804643"/>
            <ac:spMk id="36" creationId="{129264A9-4FA6-4AB9-938F-C691F70B4940}"/>
          </ac:spMkLst>
        </pc:spChg>
        <pc:spChg chg="mod">
          <ac:chgData name="Kumpulainen, Teemu (RC-FI DI PA)" userId="9e6db126-282e-46a7-b7b4-e4a6760ecd8a" providerId="ADAL" clId="{69F2DA64-4A59-4EB1-80C9-6C8B92288DA2}" dt="2023-04-04T10:38:05.394" v="1243" actId="790"/>
          <ac:spMkLst>
            <pc:docMk/>
            <pc:sldMk cId="1455653034" sldId="2134804643"/>
            <ac:spMk id="37" creationId="{AF89A0D1-8DFC-46BE-907B-094AD453B53D}"/>
          </ac:spMkLst>
        </pc:spChg>
        <pc:spChg chg="mod">
          <ac:chgData name="Kumpulainen, Teemu (RC-FI DI PA)" userId="9e6db126-282e-46a7-b7b4-e4a6760ecd8a" providerId="ADAL" clId="{69F2DA64-4A59-4EB1-80C9-6C8B92288DA2}" dt="2023-04-04T10:38:05.394" v="1244" actId="790"/>
          <ac:spMkLst>
            <pc:docMk/>
            <pc:sldMk cId="1455653034" sldId="2134804643"/>
            <ac:spMk id="38" creationId="{1522710F-C4F8-4218-A819-77049F32DE28}"/>
          </ac:spMkLst>
        </pc:spChg>
        <pc:spChg chg="mod">
          <ac:chgData name="Kumpulainen, Teemu (RC-FI DI PA)" userId="9e6db126-282e-46a7-b7b4-e4a6760ecd8a" providerId="ADAL" clId="{69F2DA64-4A59-4EB1-80C9-6C8B92288DA2}" dt="2023-04-04T10:38:05.395" v="1245" actId="790"/>
          <ac:spMkLst>
            <pc:docMk/>
            <pc:sldMk cId="1455653034" sldId="2134804643"/>
            <ac:spMk id="39" creationId="{EF14F2F1-F622-4DC3-9955-F1C2C508F5C9}"/>
          </ac:spMkLst>
        </pc:spChg>
        <pc:spChg chg="mod">
          <ac:chgData name="Kumpulainen, Teemu (RC-FI DI PA)" userId="9e6db126-282e-46a7-b7b4-e4a6760ecd8a" providerId="ADAL" clId="{69F2DA64-4A59-4EB1-80C9-6C8B92288DA2}" dt="2023-04-04T10:38:05.395" v="1246" actId="790"/>
          <ac:spMkLst>
            <pc:docMk/>
            <pc:sldMk cId="1455653034" sldId="2134804643"/>
            <ac:spMk id="40" creationId="{E5572F1F-EFBD-45FB-AD9A-8993B80944EA}"/>
          </ac:spMkLst>
        </pc:spChg>
        <pc:spChg chg="mod">
          <ac:chgData name="Kumpulainen, Teemu (RC-FI DI PA)" userId="9e6db126-282e-46a7-b7b4-e4a6760ecd8a" providerId="ADAL" clId="{69F2DA64-4A59-4EB1-80C9-6C8B92288DA2}" dt="2023-04-04T10:38:05.396" v="1247" actId="790"/>
          <ac:spMkLst>
            <pc:docMk/>
            <pc:sldMk cId="1455653034" sldId="2134804643"/>
            <ac:spMk id="41" creationId="{432617D1-8D8F-47A8-8CF3-54BC17DC7C5F}"/>
          </ac:spMkLst>
        </pc:spChg>
        <pc:spChg chg="mod">
          <ac:chgData name="Kumpulainen, Teemu (RC-FI DI PA)" userId="9e6db126-282e-46a7-b7b4-e4a6760ecd8a" providerId="ADAL" clId="{69F2DA64-4A59-4EB1-80C9-6C8B92288DA2}" dt="2023-04-04T10:38:05.396" v="1248" actId="790"/>
          <ac:spMkLst>
            <pc:docMk/>
            <pc:sldMk cId="1455653034" sldId="2134804643"/>
            <ac:spMk id="42" creationId="{65A1228E-1F6E-4A36-AFD4-25CA42EC27E4}"/>
          </ac:spMkLst>
        </pc:spChg>
        <pc:spChg chg="mod">
          <ac:chgData name="Kumpulainen, Teemu (RC-FI DI PA)" userId="9e6db126-282e-46a7-b7b4-e4a6760ecd8a" providerId="ADAL" clId="{69F2DA64-4A59-4EB1-80C9-6C8B92288DA2}" dt="2023-04-04T10:38:05.397" v="1249" actId="790"/>
          <ac:spMkLst>
            <pc:docMk/>
            <pc:sldMk cId="1455653034" sldId="2134804643"/>
            <ac:spMk id="44" creationId="{7D72F73C-4F70-4FFB-82D3-8780D4CFCBB9}"/>
          </ac:spMkLst>
        </pc:spChg>
        <pc:spChg chg="mod">
          <ac:chgData name="Kumpulainen, Teemu (RC-FI DI PA)" userId="9e6db126-282e-46a7-b7b4-e4a6760ecd8a" providerId="ADAL" clId="{69F2DA64-4A59-4EB1-80C9-6C8B92288DA2}" dt="2023-04-04T10:38:05.398" v="1250" actId="790"/>
          <ac:spMkLst>
            <pc:docMk/>
            <pc:sldMk cId="1455653034" sldId="2134804643"/>
            <ac:spMk id="45" creationId="{DCC2C132-AFD3-489F-891A-25772575CDA6}"/>
          </ac:spMkLst>
        </pc:spChg>
        <pc:spChg chg="mod">
          <ac:chgData name="Kumpulainen, Teemu (RC-FI DI PA)" userId="9e6db126-282e-46a7-b7b4-e4a6760ecd8a" providerId="ADAL" clId="{69F2DA64-4A59-4EB1-80C9-6C8B92288DA2}" dt="2023-04-04T10:38:05.398" v="1251" actId="790"/>
          <ac:spMkLst>
            <pc:docMk/>
            <pc:sldMk cId="1455653034" sldId="2134804643"/>
            <ac:spMk id="46" creationId="{907F019D-AEA9-4151-8026-995E643EA1AA}"/>
          </ac:spMkLst>
        </pc:spChg>
        <pc:spChg chg="mod">
          <ac:chgData name="Kumpulainen, Teemu (RC-FI DI PA)" userId="9e6db126-282e-46a7-b7b4-e4a6760ecd8a" providerId="ADAL" clId="{69F2DA64-4A59-4EB1-80C9-6C8B92288DA2}" dt="2023-04-04T10:38:05.399" v="1252" actId="790"/>
          <ac:spMkLst>
            <pc:docMk/>
            <pc:sldMk cId="1455653034" sldId="2134804643"/>
            <ac:spMk id="48" creationId="{861FF225-9DB3-48C6-B770-87283C6000B5}"/>
          </ac:spMkLst>
        </pc:spChg>
        <pc:spChg chg="mod">
          <ac:chgData name="Kumpulainen, Teemu (RC-FI DI PA)" userId="9e6db126-282e-46a7-b7b4-e4a6760ecd8a" providerId="ADAL" clId="{69F2DA64-4A59-4EB1-80C9-6C8B92288DA2}" dt="2023-04-04T10:38:05.399" v="1253" actId="790"/>
          <ac:spMkLst>
            <pc:docMk/>
            <pc:sldMk cId="1455653034" sldId="2134804643"/>
            <ac:spMk id="49" creationId="{51EE8599-957D-49EE-A122-460412F8B8D6}"/>
          </ac:spMkLst>
        </pc:spChg>
        <pc:spChg chg="mod">
          <ac:chgData name="Kumpulainen, Teemu (RC-FI DI PA)" userId="9e6db126-282e-46a7-b7b4-e4a6760ecd8a" providerId="ADAL" clId="{69F2DA64-4A59-4EB1-80C9-6C8B92288DA2}" dt="2023-04-04T10:38:05.400" v="1254" actId="790"/>
          <ac:spMkLst>
            <pc:docMk/>
            <pc:sldMk cId="1455653034" sldId="2134804643"/>
            <ac:spMk id="50" creationId="{637D5424-4C1F-417C-80CE-94FB5D38FBAC}"/>
          </ac:spMkLst>
        </pc:spChg>
        <pc:spChg chg="mod">
          <ac:chgData name="Kumpulainen, Teemu (RC-FI DI PA)" userId="9e6db126-282e-46a7-b7b4-e4a6760ecd8a" providerId="ADAL" clId="{69F2DA64-4A59-4EB1-80C9-6C8B92288DA2}" dt="2023-04-04T10:38:05.400" v="1255" actId="790"/>
          <ac:spMkLst>
            <pc:docMk/>
            <pc:sldMk cId="1455653034" sldId="2134804643"/>
            <ac:spMk id="51" creationId="{54F7D5DB-9721-44DD-9857-DA74332C94C7}"/>
          </ac:spMkLst>
        </pc:spChg>
        <pc:spChg chg="mod">
          <ac:chgData name="Kumpulainen, Teemu (RC-FI DI PA)" userId="9e6db126-282e-46a7-b7b4-e4a6760ecd8a" providerId="ADAL" clId="{69F2DA64-4A59-4EB1-80C9-6C8B92288DA2}" dt="2023-04-04T10:38:05.401" v="1256" actId="790"/>
          <ac:spMkLst>
            <pc:docMk/>
            <pc:sldMk cId="1455653034" sldId="2134804643"/>
            <ac:spMk id="52" creationId="{F33082A1-97E5-44E6-9892-5A4A3DBB98C9}"/>
          </ac:spMkLst>
        </pc:spChg>
        <pc:spChg chg="mod">
          <ac:chgData name="Kumpulainen, Teemu (RC-FI DI PA)" userId="9e6db126-282e-46a7-b7b4-e4a6760ecd8a" providerId="ADAL" clId="{69F2DA64-4A59-4EB1-80C9-6C8B92288DA2}" dt="2023-04-04T10:38:05.401" v="1257" actId="790"/>
          <ac:spMkLst>
            <pc:docMk/>
            <pc:sldMk cId="1455653034" sldId="2134804643"/>
            <ac:spMk id="53" creationId="{2734A68C-A8CF-4073-9578-59F2364BAEEF}"/>
          </ac:spMkLst>
        </pc:spChg>
        <pc:spChg chg="mod">
          <ac:chgData name="Kumpulainen, Teemu (RC-FI DI PA)" userId="9e6db126-282e-46a7-b7b4-e4a6760ecd8a" providerId="ADAL" clId="{69F2DA64-4A59-4EB1-80C9-6C8B92288DA2}" dt="2023-04-04T10:38:05.402" v="1258" actId="790"/>
          <ac:spMkLst>
            <pc:docMk/>
            <pc:sldMk cId="1455653034" sldId="2134804643"/>
            <ac:spMk id="54" creationId="{433EC7E0-5A78-43D8-A74C-5E43C40798A1}"/>
          </ac:spMkLst>
        </pc:spChg>
        <pc:spChg chg="mod">
          <ac:chgData name="Kumpulainen, Teemu (RC-FI DI PA)" userId="9e6db126-282e-46a7-b7b4-e4a6760ecd8a" providerId="ADAL" clId="{69F2DA64-4A59-4EB1-80C9-6C8B92288DA2}" dt="2023-04-04T10:38:05.402" v="1259" actId="790"/>
          <ac:spMkLst>
            <pc:docMk/>
            <pc:sldMk cId="1455653034" sldId="2134804643"/>
            <ac:spMk id="55" creationId="{9428226A-7C89-4B58-B82A-09787A9E5ED8}"/>
          </ac:spMkLst>
        </pc:spChg>
        <pc:spChg chg="mod">
          <ac:chgData name="Kumpulainen, Teemu (RC-FI DI PA)" userId="9e6db126-282e-46a7-b7b4-e4a6760ecd8a" providerId="ADAL" clId="{69F2DA64-4A59-4EB1-80C9-6C8B92288DA2}" dt="2023-04-04T10:38:05.375" v="1221" actId="790"/>
          <ac:spMkLst>
            <pc:docMk/>
            <pc:sldMk cId="1455653034" sldId="2134804643"/>
            <ac:spMk id="56" creationId="{0F8D8414-22A9-488E-AAA8-2E54502A1C95}"/>
          </ac:spMkLst>
        </pc:spChg>
        <pc:spChg chg="mod">
          <ac:chgData name="Kumpulainen, Teemu (RC-FI DI PA)" userId="9e6db126-282e-46a7-b7b4-e4a6760ecd8a" providerId="ADAL" clId="{69F2DA64-4A59-4EB1-80C9-6C8B92288DA2}" dt="2023-04-04T10:38:05.403" v="1260" actId="790"/>
          <ac:spMkLst>
            <pc:docMk/>
            <pc:sldMk cId="1455653034" sldId="2134804643"/>
            <ac:spMk id="60" creationId="{3E5C713C-47D7-4612-9664-BF188ACFD20D}"/>
          </ac:spMkLst>
        </pc:spChg>
        <pc:spChg chg="mod">
          <ac:chgData name="Kumpulainen, Teemu (RC-FI DI PA)" userId="9e6db126-282e-46a7-b7b4-e4a6760ecd8a" providerId="ADAL" clId="{69F2DA64-4A59-4EB1-80C9-6C8B92288DA2}" dt="2023-04-04T10:38:05.403" v="1261" actId="790"/>
          <ac:spMkLst>
            <pc:docMk/>
            <pc:sldMk cId="1455653034" sldId="2134804643"/>
            <ac:spMk id="61" creationId="{1C3769A6-81A6-4974-8E96-01A4E4CB8FB1}"/>
          </ac:spMkLst>
        </pc:spChg>
        <pc:spChg chg="mod">
          <ac:chgData name="Kumpulainen, Teemu (RC-FI DI PA)" userId="9e6db126-282e-46a7-b7b4-e4a6760ecd8a" providerId="ADAL" clId="{69F2DA64-4A59-4EB1-80C9-6C8B92288DA2}" dt="2023-04-04T10:38:05.404" v="1262" actId="790"/>
          <ac:spMkLst>
            <pc:docMk/>
            <pc:sldMk cId="1455653034" sldId="2134804643"/>
            <ac:spMk id="62" creationId="{D34E05D2-4EEA-4DA2-AF67-7FA3FF00A656}"/>
          </ac:spMkLst>
        </pc:spChg>
        <pc:spChg chg="mod">
          <ac:chgData name="Kumpulainen, Teemu (RC-FI DI PA)" userId="9e6db126-282e-46a7-b7b4-e4a6760ecd8a" providerId="ADAL" clId="{69F2DA64-4A59-4EB1-80C9-6C8B92288DA2}" dt="2023-04-04T10:38:05.404" v="1263" actId="790"/>
          <ac:spMkLst>
            <pc:docMk/>
            <pc:sldMk cId="1455653034" sldId="2134804643"/>
            <ac:spMk id="63" creationId="{2D0F2ED2-904F-44AA-AD3C-AE6FA1FF6667}"/>
          </ac:spMkLst>
        </pc:spChg>
        <pc:spChg chg="mod">
          <ac:chgData name="Kumpulainen, Teemu (RC-FI DI PA)" userId="9e6db126-282e-46a7-b7b4-e4a6760ecd8a" providerId="ADAL" clId="{69F2DA64-4A59-4EB1-80C9-6C8B92288DA2}" dt="2023-04-04T10:38:05.405" v="1264" actId="790"/>
          <ac:spMkLst>
            <pc:docMk/>
            <pc:sldMk cId="1455653034" sldId="2134804643"/>
            <ac:spMk id="65" creationId="{2C06B52B-8016-4B16-8EB9-6857ECCD97B1}"/>
          </ac:spMkLst>
        </pc:spChg>
        <pc:spChg chg="mod">
          <ac:chgData name="Kumpulainen, Teemu (RC-FI DI PA)" userId="9e6db126-282e-46a7-b7b4-e4a6760ecd8a" providerId="ADAL" clId="{69F2DA64-4A59-4EB1-80C9-6C8B92288DA2}" dt="2023-04-04T10:38:05.405" v="1265" actId="790"/>
          <ac:spMkLst>
            <pc:docMk/>
            <pc:sldMk cId="1455653034" sldId="2134804643"/>
            <ac:spMk id="66" creationId="{CCDF913C-5FD8-4657-B88B-77DF369E84CD}"/>
          </ac:spMkLst>
        </pc:spChg>
        <pc:spChg chg="mod">
          <ac:chgData name="Kumpulainen, Teemu (RC-FI DI PA)" userId="9e6db126-282e-46a7-b7b4-e4a6760ecd8a" providerId="ADAL" clId="{69F2DA64-4A59-4EB1-80C9-6C8B92288DA2}" dt="2023-04-04T10:38:05.406" v="1266" actId="790"/>
          <ac:spMkLst>
            <pc:docMk/>
            <pc:sldMk cId="1455653034" sldId="2134804643"/>
            <ac:spMk id="67" creationId="{E635EB1C-0EB7-4F4E-BF49-2910B4B6CEBA}"/>
          </ac:spMkLst>
        </pc:spChg>
        <pc:spChg chg="mod">
          <ac:chgData name="Kumpulainen, Teemu (RC-FI DI PA)" userId="9e6db126-282e-46a7-b7b4-e4a6760ecd8a" providerId="ADAL" clId="{69F2DA64-4A59-4EB1-80C9-6C8B92288DA2}" dt="2023-04-04T10:38:05.407" v="1267" actId="790"/>
          <ac:spMkLst>
            <pc:docMk/>
            <pc:sldMk cId="1455653034" sldId="2134804643"/>
            <ac:spMk id="68" creationId="{CED5BE4A-F9D7-47F0-A782-2F300D08F1FA}"/>
          </ac:spMkLst>
        </pc:spChg>
        <pc:spChg chg="mod">
          <ac:chgData name="Kumpulainen, Teemu (RC-FI DI PA)" userId="9e6db126-282e-46a7-b7b4-e4a6760ecd8a" providerId="ADAL" clId="{69F2DA64-4A59-4EB1-80C9-6C8B92288DA2}" dt="2023-04-04T10:38:05.407" v="1268" actId="790"/>
          <ac:spMkLst>
            <pc:docMk/>
            <pc:sldMk cId="1455653034" sldId="2134804643"/>
            <ac:spMk id="69" creationId="{510D4247-B506-491F-B906-69185742B114}"/>
          </ac:spMkLst>
        </pc:spChg>
        <pc:spChg chg="mod">
          <ac:chgData name="Kumpulainen, Teemu (RC-FI DI PA)" userId="9e6db126-282e-46a7-b7b4-e4a6760ecd8a" providerId="ADAL" clId="{69F2DA64-4A59-4EB1-80C9-6C8B92288DA2}" dt="2023-04-04T10:38:05.408" v="1269" actId="790"/>
          <ac:spMkLst>
            <pc:docMk/>
            <pc:sldMk cId="1455653034" sldId="2134804643"/>
            <ac:spMk id="71" creationId="{3CA5698C-54AF-4AAA-A3C1-28AF6D73C19A}"/>
          </ac:spMkLst>
        </pc:spChg>
        <pc:spChg chg="mod">
          <ac:chgData name="Kumpulainen, Teemu (RC-FI DI PA)" userId="9e6db126-282e-46a7-b7b4-e4a6760ecd8a" providerId="ADAL" clId="{69F2DA64-4A59-4EB1-80C9-6C8B92288DA2}" dt="2023-04-04T10:38:05.408" v="1270" actId="790"/>
          <ac:spMkLst>
            <pc:docMk/>
            <pc:sldMk cId="1455653034" sldId="2134804643"/>
            <ac:spMk id="72" creationId="{92384EEF-72A2-45F7-9951-CD9CFA1E45B1}"/>
          </ac:spMkLst>
        </pc:spChg>
        <pc:spChg chg="mod">
          <ac:chgData name="Kumpulainen, Teemu (RC-FI DI PA)" userId="9e6db126-282e-46a7-b7b4-e4a6760ecd8a" providerId="ADAL" clId="{69F2DA64-4A59-4EB1-80C9-6C8B92288DA2}" dt="2023-04-04T10:38:05.409" v="1271" actId="790"/>
          <ac:spMkLst>
            <pc:docMk/>
            <pc:sldMk cId="1455653034" sldId="2134804643"/>
            <ac:spMk id="73" creationId="{30E093D3-3466-4FA7-9278-FE13E7656A2E}"/>
          </ac:spMkLst>
        </pc:spChg>
        <pc:spChg chg="mod">
          <ac:chgData name="Kumpulainen, Teemu (RC-FI DI PA)" userId="9e6db126-282e-46a7-b7b4-e4a6760ecd8a" providerId="ADAL" clId="{69F2DA64-4A59-4EB1-80C9-6C8B92288DA2}" dt="2023-04-04T10:38:05.409" v="1272" actId="790"/>
          <ac:spMkLst>
            <pc:docMk/>
            <pc:sldMk cId="1455653034" sldId="2134804643"/>
            <ac:spMk id="75" creationId="{E31590DD-33ED-4134-9047-68F18D7211A1}"/>
          </ac:spMkLst>
        </pc:spChg>
        <pc:spChg chg="mod">
          <ac:chgData name="Kumpulainen, Teemu (RC-FI DI PA)" userId="9e6db126-282e-46a7-b7b4-e4a6760ecd8a" providerId="ADAL" clId="{69F2DA64-4A59-4EB1-80C9-6C8B92288DA2}" dt="2023-04-04T10:38:05.410" v="1273" actId="790"/>
          <ac:spMkLst>
            <pc:docMk/>
            <pc:sldMk cId="1455653034" sldId="2134804643"/>
            <ac:spMk id="76" creationId="{00548345-E7AF-4B8C-8331-ACA849F2E0F3}"/>
          </ac:spMkLst>
        </pc:spChg>
        <pc:spChg chg="mod">
          <ac:chgData name="Kumpulainen, Teemu (RC-FI DI PA)" userId="9e6db126-282e-46a7-b7b4-e4a6760ecd8a" providerId="ADAL" clId="{69F2DA64-4A59-4EB1-80C9-6C8B92288DA2}" dt="2023-04-04T10:38:05.411" v="1274" actId="790"/>
          <ac:spMkLst>
            <pc:docMk/>
            <pc:sldMk cId="1455653034" sldId="2134804643"/>
            <ac:spMk id="77" creationId="{6156B903-69C4-4373-AC24-F374DF946716}"/>
          </ac:spMkLst>
        </pc:spChg>
        <pc:spChg chg="mod">
          <ac:chgData name="Kumpulainen, Teemu (RC-FI DI PA)" userId="9e6db126-282e-46a7-b7b4-e4a6760ecd8a" providerId="ADAL" clId="{69F2DA64-4A59-4EB1-80C9-6C8B92288DA2}" dt="2023-04-04T10:38:05.411" v="1275" actId="790"/>
          <ac:spMkLst>
            <pc:docMk/>
            <pc:sldMk cId="1455653034" sldId="2134804643"/>
            <ac:spMk id="78" creationId="{7449F9FD-5FEF-403E-93B7-13BB34027C9A}"/>
          </ac:spMkLst>
        </pc:spChg>
        <pc:spChg chg="mod">
          <ac:chgData name="Kumpulainen, Teemu (RC-FI DI PA)" userId="9e6db126-282e-46a7-b7b4-e4a6760ecd8a" providerId="ADAL" clId="{69F2DA64-4A59-4EB1-80C9-6C8B92288DA2}" dt="2023-04-04T10:38:05.412" v="1276" actId="790"/>
          <ac:spMkLst>
            <pc:docMk/>
            <pc:sldMk cId="1455653034" sldId="2134804643"/>
            <ac:spMk id="79" creationId="{DBBF5A01-E9F0-4C01-A5A2-CF889E388E79}"/>
          </ac:spMkLst>
        </pc:spChg>
        <pc:spChg chg="mod">
          <ac:chgData name="Kumpulainen, Teemu (RC-FI DI PA)" userId="9e6db126-282e-46a7-b7b4-e4a6760ecd8a" providerId="ADAL" clId="{69F2DA64-4A59-4EB1-80C9-6C8B92288DA2}" dt="2023-04-04T10:38:05.412" v="1277" actId="790"/>
          <ac:spMkLst>
            <pc:docMk/>
            <pc:sldMk cId="1455653034" sldId="2134804643"/>
            <ac:spMk id="80" creationId="{6220BA4F-984B-44DB-A109-FCCF836CFBAA}"/>
          </ac:spMkLst>
        </pc:spChg>
        <pc:spChg chg="mod">
          <ac:chgData name="Kumpulainen, Teemu (RC-FI DI PA)" userId="9e6db126-282e-46a7-b7b4-e4a6760ecd8a" providerId="ADAL" clId="{69F2DA64-4A59-4EB1-80C9-6C8B92288DA2}" dt="2023-04-04T10:38:05.413" v="1278" actId="790"/>
          <ac:spMkLst>
            <pc:docMk/>
            <pc:sldMk cId="1455653034" sldId="2134804643"/>
            <ac:spMk id="81" creationId="{A229EA98-F3A6-4ACC-BB55-4075B01870A7}"/>
          </ac:spMkLst>
        </pc:spChg>
        <pc:spChg chg="mod">
          <ac:chgData name="Kumpulainen, Teemu (RC-FI DI PA)" userId="9e6db126-282e-46a7-b7b4-e4a6760ecd8a" providerId="ADAL" clId="{69F2DA64-4A59-4EB1-80C9-6C8B92288DA2}" dt="2023-04-04T10:38:05.413" v="1279" actId="790"/>
          <ac:spMkLst>
            <pc:docMk/>
            <pc:sldMk cId="1455653034" sldId="2134804643"/>
            <ac:spMk id="82" creationId="{B185F08B-4D54-4AC9-BF6A-4C4A0AA4A814}"/>
          </ac:spMkLst>
        </pc:spChg>
        <pc:spChg chg="mod">
          <ac:chgData name="Kumpulainen, Teemu (RC-FI DI PA)" userId="9e6db126-282e-46a7-b7b4-e4a6760ecd8a" providerId="ADAL" clId="{69F2DA64-4A59-4EB1-80C9-6C8B92288DA2}" dt="2023-04-04T10:38:05.414" v="1280" actId="790"/>
          <ac:spMkLst>
            <pc:docMk/>
            <pc:sldMk cId="1455653034" sldId="2134804643"/>
            <ac:spMk id="83" creationId="{ACDFEEC1-48E8-4687-813C-B31ED76FEC05}"/>
          </ac:spMkLst>
        </pc:spChg>
        <pc:spChg chg="mod">
          <ac:chgData name="Kumpulainen, Teemu (RC-FI DI PA)" userId="9e6db126-282e-46a7-b7b4-e4a6760ecd8a" providerId="ADAL" clId="{69F2DA64-4A59-4EB1-80C9-6C8B92288DA2}" dt="2023-04-04T10:38:05.414" v="1281" actId="790"/>
          <ac:spMkLst>
            <pc:docMk/>
            <pc:sldMk cId="1455653034" sldId="2134804643"/>
            <ac:spMk id="84" creationId="{DD4B04C7-3780-4EAC-91B0-AB27823219F9}"/>
          </ac:spMkLst>
        </pc:spChg>
        <pc:spChg chg="mod">
          <ac:chgData name="Kumpulainen, Teemu (RC-FI DI PA)" userId="9e6db126-282e-46a7-b7b4-e4a6760ecd8a" providerId="ADAL" clId="{69F2DA64-4A59-4EB1-80C9-6C8B92288DA2}" dt="2023-04-04T10:38:05.415" v="1282" actId="790"/>
          <ac:spMkLst>
            <pc:docMk/>
            <pc:sldMk cId="1455653034" sldId="2134804643"/>
            <ac:spMk id="85" creationId="{A504EB15-468C-4F65-B34D-1001154C90F8}"/>
          </ac:spMkLst>
        </pc:spChg>
        <pc:spChg chg="mod">
          <ac:chgData name="Kumpulainen, Teemu (RC-FI DI PA)" userId="9e6db126-282e-46a7-b7b4-e4a6760ecd8a" providerId="ADAL" clId="{69F2DA64-4A59-4EB1-80C9-6C8B92288DA2}" dt="2023-04-04T10:38:05.415" v="1283" actId="790"/>
          <ac:spMkLst>
            <pc:docMk/>
            <pc:sldMk cId="1455653034" sldId="2134804643"/>
            <ac:spMk id="87" creationId="{3256247B-57D8-4823-9AD5-CE565D28D9F9}"/>
          </ac:spMkLst>
        </pc:spChg>
        <pc:spChg chg="mod">
          <ac:chgData name="Kumpulainen, Teemu (RC-FI DI PA)" userId="9e6db126-282e-46a7-b7b4-e4a6760ecd8a" providerId="ADAL" clId="{69F2DA64-4A59-4EB1-80C9-6C8B92288DA2}" dt="2023-04-04T10:38:05.416" v="1284" actId="790"/>
          <ac:spMkLst>
            <pc:docMk/>
            <pc:sldMk cId="1455653034" sldId="2134804643"/>
            <ac:spMk id="88" creationId="{C0D03B86-02E0-47CD-817F-7E73E531D3BE}"/>
          </ac:spMkLst>
        </pc:spChg>
        <pc:spChg chg="mod">
          <ac:chgData name="Kumpulainen, Teemu (RC-FI DI PA)" userId="9e6db126-282e-46a7-b7b4-e4a6760ecd8a" providerId="ADAL" clId="{69F2DA64-4A59-4EB1-80C9-6C8B92288DA2}" dt="2023-04-04T10:38:05.416" v="1285" actId="790"/>
          <ac:spMkLst>
            <pc:docMk/>
            <pc:sldMk cId="1455653034" sldId="2134804643"/>
            <ac:spMk id="89" creationId="{1585D1E2-C329-4948-B2B9-A20C612FCD16}"/>
          </ac:spMkLst>
        </pc:spChg>
        <pc:spChg chg="mod">
          <ac:chgData name="Kumpulainen, Teemu (RC-FI DI PA)" userId="9e6db126-282e-46a7-b7b4-e4a6760ecd8a" providerId="ADAL" clId="{69F2DA64-4A59-4EB1-80C9-6C8B92288DA2}" dt="2023-04-04T10:38:05.417" v="1286" actId="790"/>
          <ac:spMkLst>
            <pc:docMk/>
            <pc:sldMk cId="1455653034" sldId="2134804643"/>
            <ac:spMk id="90" creationId="{6421DFFA-C14E-4DF9-8D05-7E3808D7B84D}"/>
          </ac:spMkLst>
        </pc:spChg>
        <pc:spChg chg="mod">
          <ac:chgData name="Kumpulainen, Teemu (RC-FI DI PA)" userId="9e6db126-282e-46a7-b7b4-e4a6760ecd8a" providerId="ADAL" clId="{69F2DA64-4A59-4EB1-80C9-6C8B92288DA2}" dt="2023-04-04T10:38:05.417" v="1287" actId="790"/>
          <ac:spMkLst>
            <pc:docMk/>
            <pc:sldMk cId="1455653034" sldId="2134804643"/>
            <ac:spMk id="91" creationId="{44DE6ED1-A775-47E4-B1A5-E345C80753D3}"/>
          </ac:spMkLst>
        </pc:spChg>
        <pc:spChg chg="mod">
          <ac:chgData name="Kumpulainen, Teemu (RC-FI DI PA)" userId="9e6db126-282e-46a7-b7b4-e4a6760ecd8a" providerId="ADAL" clId="{69F2DA64-4A59-4EB1-80C9-6C8B92288DA2}" dt="2023-04-04T10:38:05.418" v="1288" actId="790"/>
          <ac:spMkLst>
            <pc:docMk/>
            <pc:sldMk cId="1455653034" sldId="2134804643"/>
            <ac:spMk id="93" creationId="{D1722367-422F-40EC-8955-C4E10C681905}"/>
          </ac:spMkLst>
        </pc:spChg>
        <pc:spChg chg="mod">
          <ac:chgData name="Kumpulainen, Teemu (RC-FI DI PA)" userId="9e6db126-282e-46a7-b7b4-e4a6760ecd8a" providerId="ADAL" clId="{69F2DA64-4A59-4EB1-80C9-6C8B92288DA2}" dt="2023-04-04T10:38:05.418" v="1289" actId="790"/>
          <ac:spMkLst>
            <pc:docMk/>
            <pc:sldMk cId="1455653034" sldId="2134804643"/>
            <ac:spMk id="94" creationId="{43E299BB-866B-4795-966E-8CB1992E1B4B}"/>
          </ac:spMkLst>
        </pc:spChg>
        <pc:spChg chg="mod">
          <ac:chgData name="Kumpulainen, Teemu (RC-FI DI PA)" userId="9e6db126-282e-46a7-b7b4-e4a6760ecd8a" providerId="ADAL" clId="{69F2DA64-4A59-4EB1-80C9-6C8B92288DA2}" dt="2023-04-04T10:38:05.419" v="1290" actId="790"/>
          <ac:spMkLst>
            <pc:docMk/>
            <pc:sldMk cId="1455653034" sldId="2134804643"/>
            <ac:spMk id="95" creationId="{1EFC9589-A7E6-48E4-880A-C7BC1AD30EBC}"/>
          </ac:spMkLst>
        </pc:spChg>
        <pc:spChg chg="mod">
          <ac:chgData name="Kumpulainen, Teemu (RC-FI DI PA)" userId="9e6db126-282e-46a7-b7b4-e4a6760ecd8a" providerId="ADAL" clId="{69F2DA64-4A59-4EB1-80C9-6C8B92288DA2}" dt="2023-04-04T10:38:05.419" v="1291" actId="790"/>
          <ac:spMkLst>
            <pc:docMk/>
            <pc:sldMk cId="1455653034" sldId="2134804643"/>
            <ac:spMk id="97" creationId="{DFAA78F8-006D-40DC-8494-85BC0E39F9BA}"/>
          </ac:spMkLst>
        </pc:spChg>
        <pc:spChg chg="mod">
          <ac:chgData name="Kumpulainen, Teemu (RC-FI DI PA)" userId="9e6db126-282e-46a7-b7b4-e4a6760ecd8a" providerId="ADAL" clId="{69F2DA64-4A59-4EB1-80C9-6C8B92288DA2}" dt="2023-04-04T10:38:05.420" v="1292" actId="790"/>
          <ac:spMkLst>
            <pc:docMk/>
            <pc:sldMk cId="1455653034" sldId="2134804643"/>
            <ac:spMk id="98" creationId="{7A642B44-3B8D-40CD-8620-C58AD306D99C}"/>
          </ac:spMkLst>
        </pc:spChg>
        <pc:spChg chg="mod">
          <ac:chgData name="Kumpulainen, Teemu (RC-FI DI PA)" userId="9e6db126-282e-46a7-b7b4-e4a6760ecd8a" providerId="ADAL" clId="{69F2DA64-4A59-4EB1-80C9-6C8B92288DA2}" dt="2023-04-04T10:38:05.421" v="1293" actId="790"/>
          <ac:spMkLst>
            <pc:docMk/>
            <pc:sldMk cId="1455653034" sldId="2134804643"/>
            <ac:spMk id="99" creationId="{6FED76A7-DD37-4A75-9CB9-A0FD2B82731A}"/>
          </ac:spMkLst>
        </pc:spChg>
        <pc:spChg chg="mod">
          <ac:chgData name="Kumpulainen, Teemu (RC-FI DI PA)" userId="9e6db126-282e-46a7-b7b4-e4a6760ecd8a" providerId="ADAL" clId="{69F2DA64-4A59-4EB1-80C9-6C8B92288DA2}" dt="2023-04-04T10:38:05.421" v="1294" actId="790"/>
          <ac:spMkLst>
            <pc:docMk/>
            <pc:sldMk cId="1455653034" sldId="2134804643"/>
            <ac:spMk id="100" creationId="{4E1679A1-C3E4-49F4-AF41-EB644ECABD73}"/>
          </ac:spMkLst>
        </pc:spChg>
        <pc:spChg chg="mod">
          <ac:chgData name="Kumpulainen, Teemu (RC-FI DI PA)" userId="9e6db126-282e-46a7-b7b4-e4a6760ecd8a" providerId="ADAL" clId="{69F2DA64-4A59-4EB1-80C9-6C8B92288DA2}" dt="2023-04-04T10:38:05.422" v="1295" actId="790"/>
          <ac:spMkLst>
            <pc:docMk/>
            <pc:sldMk cId="1455653034" sldId="2134804643"/>
            <ac:spMk id="101" creationId="{E9A34260-A35A-477F-9D50-A0863934E0C3}"/>
          </ac:spMkLst>
        </pc:spChg>
        <pc:spChg chg="mod">
          <ac:chgData name="Kumpulainen, Teemu (RC-FI DI PA)" userId="9e6db126-282e-46a7-b7b4-e4a6760ecd8a" providerId="ADAL" clId="{69F2DA64-4A59-4EB1-80C9-6C8B92288DA2}" dt="2023-04-04T10:38:05.423" v="1296" actId="790"/>
          <ac:spMkLst>
            <pc:docMk/>
            <pc:sldMk cId="1455653034" sldId="2134804643"/>
            <ac:spMk id="102" creationId="{B27A2367-D7A8-445A-8F2F-08D9D30D104A}"/>
          </ac:spMkLst>
        </pc:spChg>
        <pc:spChg chg="mod">
          <ac:chgData name="Kumpulainen, Teemu (RC-FI DI PA)" userId="9e6db126-282e-46a7-b7b4-e4a6760ecd8a" providerId="ADAL" clId="{69F2DA64-4A59-4EB1-80C9-6C8B92288DA2}" dt="2023-04-04T10:38:05.423" v="1297" actId="790"/>
          <ac:spMkLst>
            <pc:docMk/>
            <pc:sldMk cId="1455653034" sldId="2134804643"/>
            <ac:spMk id="103" creationId="{7E44BC6B-4A0E-45DF-A2E2-2FF572FDE136}"/>
          </ac:spMkLst>
        </pc:spChg>
        <pc:spChg chg="mod">
          <ac:chgData name="Kumpulainen, Teemu (RC-FI DI PA)" userId="9e6db126-282e-46a7-b7b4-e4a6760ecd8a" providerId="ADAL" clId="{69F2DA64-4A59-4EB1-80C9-6C8B92288DA2}" dt="2023-04-04T10:38:05.424" v="1298" actId="790"/>
          <ac:spMkLst>
            <pc:docMk/>
            <pc:sldMk cId="1455653034" sldId="2134804643"/>
            <ac:spMk id="104" creationId="{F884628B-5FA9-4FCA-BA8B-E40C7F5C4D27}"/>
          </ac:spMkLst>
        </pc:spChg>
        <pc:spChg chg="mod">
          <ac:chgData name="Kumpulainen, Teemu (RC-FI DI PA)" userId="9e6db126-282e-46a7-b7b4-e4a6760ecd8a" providerId="ADAL" clId="{69F2DA64-4A59-4EB1-80C9-6C8B92288DA2}" dt="2023-04-04T10:38:05.424" v="1299" actId="790"/>
          <ac:spMkLst>
            <pc:docMk/>
            <pc:sldMk cId="1455653034" sldId="2134804643"/>
            <ac:spMk id="105" creationId="{E6539F0F-AEEC-4DE1-B55C-9F62A0665B22}"/>
          </ac:spMkLst>
        </pc:spChg>
        <pc:spChg chg="mod">
          <ac:chgData name="Kumpulainen, Teemu (RC-FI DI PA)" userId="9e6db126-282e-46a7-b7b4-e4a6760ecd8a" providerId="ADAL" clId="{69F2DA64-4A59-4EB1-80C9-6C8B92288DA2}" dt="2023-04-04T10:38:05.424" v="1300" actId="790"/>
          <ac:spMkLst>
            <pc:docMk/>
            <pc:sldMk cId="1455653034" sldId="2134804643"/>
            <ac:spMk id="106" creationId="{C54D97D0-4C0E-4DF6-A292-3807E16B7973}"/>
          </ac:spMkLst>
        </pc:spChg>
        <pc:spChg chg="mod">
          <ac:chgData name="Kumpulainen, Teemu (RC-FI DI PA)" userId="9e6db126-282e-46a7-b7b4-e4a6760ecd8a" providerId="ADAL" clId="{69F2DA64-4A59-4EB1-80C9-6C8B92288DA2}" dt="2023-04-04T10:38:05.425" v="1301" actId="790"/>
          <ac:spMkLst>
            <pc:docMk/>
            <pc:sldMk cId="1455653034" sldId="2134804643"/>
            <ac:spMk id="107" creationId="{37B0A8EA-373D-47E6-8D06-D24BC0327A12}"/>
          </ac:spMkLst>
        </pc:spChg>
        <pc:spChg chg="mod">
          <ac:chgData name="Kumpulainen, Teemu (RC-FI DI PA)" userId="9e6db126-282e-46a7-b7b4-e4a6760ecd8a" providerId="ADAL" clId="{69F2DA64-4A59-4EB1-80C9-6C8B92288DA2}" dt="2023-04-04T10:38:05.425" v="1302" actId="790"/>
          <ac:spMkLst>
            <pc:docMk/>
            <pc:sldMk cId="1455653034" sldId="2134804643"/>
            <ac:spMk id="108" creationId="{246AE170-9B14-4150-90E4-53D86BBB6179}"/>
          </ac:spMkLst>
        </pc:spChg>
        <pc:spChg chg="mod">
          <ac:chgData name="Kumpulainen, Teemu (RC-FI DI PA)" userId="9e6db126-282e-46a7-b7b4-e4a6760ecd8a" providerId="ADAL" clId="{69F2DA64-4A59-4EB1-80C9-6C8B92288DA2}" dt="2023-04-04T10:38:05.426" v="1303" actId="790"/>
          <ac:spMkLst>
            <pc:docMk/>
            <pc:sldMk cId="1455653034" sldId="2134804643"/>
            <ac:spMk id="111" creationId="{889AB788-1807-46E1-A538-246BDC7EA8B0}"/>
          </ac:spMkLst>
        </pc:spChg>
        <pc:spChg chg="mod">
          <ac:chgData name="Kumpulainen, Teemu (RC-FI DI PA)" userId="9e6db126-282e-46a7-b7b4-e4a6760ecd8a" providerId="ADAL" clId="{69F2DA64-4A59-4EB1-80C9-6C8B92288DA2}" dt="2023-04-04T10:38:05.427" v="1304" actId="790"/>
          <ac:spMkLst>
            <pc:docMk/>
            <pc:sldMk cId="1455653034" sldId="2134804643"/>
            <ac:spMk id="112" creationId="{050C9A73-48E3-4880-8E31-74FF3DF9809A}"/>
          </ac:spMkLst>
        </pc:spChg>
        <pc:spChg chg="mod">
          <ac:chgData name="Kumpulainen, Teemu (RC-FI DI PA)" userId="9e6db126-282e-46a7-b7b4-e4a6760ecd8a" providerId="ADAL" clId="{69F2DA64-4A59-4EB1-80C9-6C8B92288DA2}" dt="2023-04-04T10:38:05.427" v="1305" actId="790"/>
          <ac:spMkLst>
            <pc:docMk/>
            <pc:sldMk cId="1455653034" sldId="2134804643"/>
            <ac:spMk id="113" creationId="{3373975F-37A3-423D-B48D-A2ED4AFE3214}"/>
          </ac:spMkLst>
        </pc:spChg>
        <pc:spChg chg="mod">
          <ac:chgData name="Kumpulainen, Teemu (RC-FI DI PA)" userId="9e6db126-282e-46a7-b7b4-e4a6760ecd8a" providerId="ADAL" clId="{69F2DA64-4A59-4EB1-80C9-6C8B92288DA2}" dt="2023-04-04T10:38:05.429" v="1308" actId="790"/>
          <ac:spMkLst>
            <pc:docMk/>
            <pc:sldMk cId="1455653034" sldId="2134804643"/>
            <ac:spMk id="116" creationId="{77493239-0A99-47F6-B65B-8BD0F66EE65B}"/>
          </ac:spMkLst>
        </pc:spChg>
        <pc:spChg chg="mod">
          <ac:chgData name="Kumpulainen, Teemu (RC-FI DI PA)" userId="9e6db126-282e-46a7-b7b4-e4a6760ecd8a" providerId="ADAL" clId="{69F2DA64-4A59-4EB1-80C9-6C8B92288DA2}" dt="2023-04-04T10:38:05.429" v="1309" actId="790"/>
          <ac:spMkLst>
            <pc:docMk/>
            <pc:sldMk cId="1455653034" sldId="2134804643"/>
            <ac:spMk id="117" creationId="{F2728963-6E59-45C1-BD7E-92D3610E728B}"/>
          </ac:spMkLst>
        </pc:spChg>
        <pc:spChg chg="mod">
          <ac:chgData name="Kumpulainen, Teemu (RC-FI DI PA)" userId="9e6db126-282e-46a7-b7b4-e4a6760ecd8a" providerId="ADAL" clId="{69F2DA64-4A59-4EB1-80C9-6C8B92288DA2}" dt="2023-04-04T10:38:05.428" v="1306" actId="790"/>
          <ac:spMkLst>
            <pc:docMk/>
            <pc:sldMk cId="1455653034" sldId="2134804643"/>
            <ac:spMk id="118" creationId="{21E5E477-0FD8-4475-ABD9-D460AA848634}"/>
          </ac:spMkLst>
        </pc:spChg>
        <pc:spChg chg="mod">
          <ac:chgData name="Kumpulainen, Teemu (RC-FI DI PA)" userId="9e6db126-282e-46a7-b7b4-e4a6760ecd8a" providerId="ADAL" clId="{69F2DA64-4A59-4EB1-80C9-6C8B92288DA2}" dt="2023-04-04T10:38:05.428" v="1307" actId="790"/>
          <ac:spMkLst>
            <pc:docMk/>
            <pc:sldMk cId="1455653034" sldId="2134804643"/>
            <ac:spMk id="119" creationId="{38A1174D-F2FB-4F0F-B4A4-49436286184A}"/>
          </ac:spMkLst>
        </pc:spChg>
        <pc:spChg chg="mod">
          <ac:chgData name="Kumpulainen, Teemu (RC-FI DI PA)" userId="9e6db126-282e-46a7-b7b4-e4a6760ecd8a" providerId="ADAL" clId="{69F2DA64-4A59-4EB1-80C9-6C8B92288DA2}" dt="2023-04-04T10:38:05.430" v="1310" actId="790"/>
          <ac:spMkLst>
            <pc:docMk/>
            <pc:sldMk cId="1455653034" sldId="2134804643"/>
            <ac:spMk id="120" creationId="{61E5B07B-848E-4271-A8BC-4EEE0FA4EB1A}"/>
          </ac:spMkLst>
        </pc:spChg>
        <pc:spChg chg="mod">
          <ac:chgData name="Kumpulainen, Teemu (RC-FI DI PA)" userId="9e6db126-282e-46a7-b7b4-e4a6760ecd8a" providerId="ADAL" clId="{69F2DA64-4A59-4EB1-80C9-6C8B92288DA2}" dt="2023-04-04T10:38:05.430" v="1311" actId="790"/>
          <ac:spMkLst>
            <pc:docMk/>
            <pc:sldMk cId="1455653034" sldId="2134804643"/>
            <ac:spMk id="121" creationId="{785DD046-A4DD-40FC-A741-DF175A9CA23C}"/>
          </ac:spMkLst>
        </pc:spChg>
        <pc:spChg chg="mod">
          <ac:chgData name="Kumpulainen, Teemu (RC-FI DI PA)" userId="9e6db126-282e-46a7-b7b4-e4a6760ecd8a" providerId="ADAL" clId="{69F2DA64-4A59-4EB1-80C9-6C8B92288DA2}" dt="2023-04-04T10:38:05.431" v="1312" actId="790"/>
          <ac:spMkLst>
            <pc:docMk/>
            <pc:sldMk cId="1455653034" sldId="2134804643"/>
            <ac:spMk id="122" creationId="{1F99E98E-F52E-4A94-92D5-34EBD875316B}"/>
          </ac:spMkLst>
        </pc:spChg>
        <pc:spChg chg="mod">
          <ac:chgData name="Kumpulainen, Teemu (RC-FI DI PA)" userId="9e6db126-282e-46a7-b7b4-e4a6760ecd8a" providerId="ADAL" clId="{69F2DA64-4A59-4EB1-80C9-6C8B92288DA2}" dt="2023-04-04T10:38:05.432" v="1315" actId="790"/>
          <ac:spMkLst>
            <pc:docMk/>
            <pc:sldMk cId="1455653034" sldId="2134804643"/>
            <ac:spMk id="125" creationId="{B7123F4E-68EB-4503-B018-BDDEA8137418}"/>
          </ac:spMkLst>
        </pc:spChg>
        <pc:spChg chg="mod">
          <ac:chgData name="Kumpulainen, Teemu (RC-FI DI PA)" userId="9e6db126-282e-46a7-b7b4-e4a6760ecd8a" providerId="ADAL" clId="{69F2DA64-4A59-4EB1-80C9-6C8B92288DA2}" dt="2023-04-04T10:38:05.433" v="1316" actId="790"/>
          <ac:spMkLst>
            <pc:docMk/>
            <pc:sldMk cId="1455653034" sldId="2134804643"/>
            <ac:spMk id="126" creationId="{7CC28647-E588-498D-A79F-32115A7B4A01}"/>
          </ac:spMkLst>
        </pc:spChg>
        <pc:spChg chg="mod">
          <ac:chgData name="Kumpulainen, Teemu (RC-FI DI PA)" userId="9e6db126-282e-46a7-b7b4-e4a6760ecd8a" providerId="ADAL" clId="{69F2DA64-4A59-4EB1-80C9-6C8B92288DA2}" dt="2023-04-04T10:38:05.431" v="1313" actId="790"/>
          <ac:spMkLst>
            <pc:docMk/>
            <pc:sldMk cId="1455653034" sldId="2134804643"/>
            <ac:spMk id="127" creationId="{A11BDBB4-6B5F-48E1-8666-C163C1A7EE72}"/>
          </ac:spMkLst>
        </pc:spChg>
        <pc:spChg chg="mod">
          <ac:chgData name="Kumpulainen, Teemu (RC-FI DI PA)" userId="9e6db126-282e-46a7-b7b4-e4a6760ecd8a" providerId="ADAL" clId="{69F2DA64-4A59-4EB1-80C9-6C8B92288DA2}" dt="2023-04-04T10:38:05.432" v="1314" actId="790"/>
          <ac:spMkLst>
            <pc:docMk/>
            <pc:sldMk cId="1455653034" sldId="2134804643"/>
            <ac:spMk id="128" creationId="{3E44A3A0-C890-4A0D-A537-25CD5088C15B}"/>
          </ac:spMkLst>
        </pc:spChg>
        <pc:spChg chg="mod">
          <ac:chgData name="Kumpulainen, Teemu (RC-FI DI PA)" userId="9e6db126-282e-46a7-b7b4-e4a6760ecd8a" providerId="ADAL" clId="{69F2DA64-4A59-4EB1-80C9-6C8B92288DA2}" dt="2023-04-04T10:38:05.433" v="1317" actId="790"/>
          <ac:spMkLst>
            <pc:docMk/>
            <pc:sldMk cId="1455653034" sldId="2134804643"/>
            <ac:spMk id="129" creationId="{F2208432-E31B-439D-8C02-32AA7D92635D}"/>
          </ac:spMkLst>
        </pc:spChg>
        <pc:spChg chg="mod">
          <ac:chgData name="Kumpulainen, Teemu (RC-FI DI PA)" userId="9e6db126-282e-46a7-b7b4-e4a6760ecd8a" providerId="ADAL" clId="{69F2DA64-4A59-4EB1-80C9-6C8B92288DA2}" dt="2023-04-04T10:38:05.434" v="1318" actId="790"/>
          <ac:spMkLst>
            <pc:docMk/>
            <pc:sldMk cId="1455653034" sldId="2134804643"/>
            <ac:spMk id="130" creationId="{42E83554-E6E2-4F2C-8D38-1D50239F02ED}"/>
          </ac:spMkLst>
        </pc:spChg>
        <pc:spChg chg="mod">
          <ac:chgData name="Kumpulainen, Teemu (RC-FI DI PA)" userId="9e6db126-282e-46a7-b7b4-e4a6760ecd8a" providerId="ADAL" clId="{69F2DA64-4A59-4EB1-80C9-6C8B92288DA2}" dt="2023-04-04T10:38:05.434" v="1319" actId="790"/>
          <ac:spMkLst>
            <pc:docMk/>
            <pc:sldMk cId="1455653034" sldId="2134804643"/>
            <ac:spMk id="131" creationId="{BA3676A3-8CFF-4F7E-8BBB-E7A56F3AF2C7}"/>
          </ac:spMkLst>
        </pc:spChg>
        <pc:spChg chg="mod">
          <ac:chgData name="Kumpulainen, Teemu (RC-FI DI PA)" userId="9e6db126-282e-46a7-b7b4-e4a6760ecd8a" providerId="ADAL" clId="{69F2DA64-4A59-4EB1-80C9-6C8B92288DA2}" dt="2023-04-04T10:38:05.375" v="1222" actId="790"/>
          <ac:spMkLst>
            <pc:docMk/>
            <pc:sldMk cId="1455653034" sldId="2134804643"/>
            <ac:spMk id="133" creationId="{90031ED3-00F1-4B3D-9F74-BF0FFB6049C6}"/>
          </ac:spMkLst>
        </pc:spChg>
        <pc:spChg chg="mod">
          <ac:chgData name="Kumpulainen, Teemu (RC-FI DI PA)" userId="9e6db126-282e-46a7-b7b4-e4a6760ecd8a" providerId="ADAL" clId="{69F2DA64-4A59-4EB1-80C9-6C8B92288DA2}" dt="2023-04-04T10:38:05.374" v="1220" actId="790"/>
          <ac:spMkLst>
            <pc:docMk/>
            <pc:sldMk cId="1455653034" sldId="2134804643"/>
            <ac:spMk id="135" creationId="{4CFB4A51-D2F1-4651-B38F-D164E3009B16}"/>
          </ac:spMkLst>
        </pc:spChg>
      </pc:sldChg>
      <pc:sldChg chg="modSp del mod modNotes">
        <pc:chgData name="Kumpulainen, Teemu (RC-FI DI PA)" userId="9e6db126-282e-46a7-b7b4-e4a6760ecd8a" providerId="ADAL" clId="{69F2DA64-4A59-4EB1-80C9-6C8B92288DA2}" dt="2023-04-04T10:39:19.242" v="1558" actId="47"/>
        <pc:sldMkLst>
          <pc:docMk/>
          <pc:sldMk cId="3658027171" sldId="2134804649"/>
        </pc:sldMkLst>
        <pc:spChg chg="mod">
          <ac:chgData name="Kumpulainen, Teemu (RC-FI DI PA)" userId="9e6db126-282e-46a7-b7b4-e4a6760ecd8a" providerId="ADAL" clId="{69F2DA64-4A59-4EB1-80C9-6C8B92288DA2}" dt="2023-04-04T10:38:05.365" v="1208" actId="790"/>
          <ac:spMkLst>
            <pc:docMk/>
            <pc:sldMk cId="3658027171" sldId="2134804649"/>
            <ac:spMk id="2" creationId="{AE824255-CD41-46A9-9AD9-6BB139370000}"/>
          </ac:spMkLst>
        </pc:spChg>
        <pc:spChg chg="mod">
          <ac:chgData name="Kumpulainen, Teemu (RC-FI DI PA)" userId="9e6db126-282e-46a7-b7b4-e4a6760ecd8a" providerId="ADAL" clId="{69F2DA64-4A59-4EB1-80C9-6C8B92288DA2}" dt="2023-04-04T10:38:05.367" v="1209" actId="790"/>
          <ac:spMkLst>
            <pc:docMk/>
            <pc:sldMk cId="3658027171" sldId="2134804649"/>
            <ac:spMk id="3" creationId="{02DA5B2C-9208-432F-A2EE-D8328615592B}"/>
          </ac:spMkLst>
        </pc:spChg>
        <pc:spChg chg="mod">
          <ac:chgData name="Kumpulainen, Teemu (RC-FI DI PA)" userId="9e6db126-282e-46a7-b7b4-e4a6760ecd8a" providerId="ADAL" clId="{69F2DA64-4A59-4EB1-80C9-6C8B92288DA2}" dt="2023-04-04T10:38:05.368" v="1210" actId="790"/>
          <ac:spMkLst>
            <pc:docMk/>
            <pc:sldMk cId="3658027171" sldId="2134804649"/>
            <ac:spMk id="5" creationId="{AB20A5BC-DE2A-4FA3-9C6D-77C065166D59}"/>
          </ac:spMkLst>
        </pc:spChg>
        <pc:spChg chg="mod">
          <ac:chgData name="Kumpulainen, Teemu (RC-FI DI PA)" userId="9e6db126-282e-46a7-b7b4-e4a6760ecd8a" providerId="ADAL" clId="{69F2DA64-4A59-4EB1-80C9-6C8B92288DA2}" dt="2023-04-04T10:38:05.368" v="1211" actId="790"/>
          <ac:spMkLst>
            <pc:docMk/>
            <pc:sldMk cId="3658027171" sldId="2134804649"/>
            <ac:spMk id="6" creationId="{5E06FD45-3BBE-4348-8AFE-31B39652C2EF}"/>
          </ac:spMkLst>
        </pc:spChg>
        <pc:spChg chg="mod">
          <ac:chgData name="Kumpulainen, Teemu (RC-FI DI PA)" userId="9e6db126-282e-46a7-b7b4-e4a6760ecd8a" providerId="ADAL" clId="{69F2DA64-4A59-4EB1-80C9-6C8B92288DA2}" dt="2023-04-04T10:38:05.369" v="1212" actId="790"/>
          <ac:spMkLst>
            <pc:docMk/>
            <pc:sldMk cId="3658027171" sldId="2134804649"/>
            <ac:spMk id="7" creationId="{5AB89760-5C7F-4D14-9CCD-9D339972E05D}"/>
          </ac:spMkLst>
        </pc:spChg>
      </pc:sldChg>
      <pc:sldChg chg="modSp del mod modNotes">
        <pc:chgData name="Kumpulainen, Teemu (RC-FI DI PA)" userId="9e6db126-282e-46a7-b7b4-e4a6760ecd8a" providerId="ADAL" clId="{69F2DA64-4A59-4EB1-80C9-6C8B92288DA2}" dt="2023-04-04T10:38:36.578" v="1555" actId="47"/>
        <pc:sldMkLst>
          <pc:docMk/>
          <pc:sldMk cId="3532878887" sldId="2134804660"/>
        </pc:sldMkLst>
        <pc:spChg chg="mod">
          <ac:chgData name="Kumpulainen, Teemu (RC-FI DI PA)" userId="9e6db126-282e-46a7-b7b4-e4a6760ecd8a" providerId="ADAL" clId="{69F2DA64-4A59-4EB1-80C9-6C8B92288DA2}" dt="2023-04-04T10:38:05.508" v="1402" actId="790"/>
          <ac:spMkLst>
            <pc:docMk/>
            <pc:sldMk cId="3532878887" sldId="2134804660"/>
            <ac:spMk id="2" creationId="{1E62BE68-3FAF-4454-A0F1-F2057B935AE8}"/>
          </ac:spMkLst>
        </pc:spChg>
        <pc:spChg chg="mod">
          <ac:chgData name="Kumpulainen, Teemu (RC-FI DI PA)" userId="9e6db126-282e-46a7-b7b4-e4a6760ecd8a" providerId="ADAL" clId="{69F2DA64-4A59-4EB1-80C9-6C8B92288DA2}" dt="2023-04-04T10:38:05.508" v="1401" actId="790"/>
          <ac:spMkLst>
            <pc:docMk/>
            <pc:sldMk cId="3532878887" sldId="2134804660"/>
            <ac:spMk id="3" creationId="{951F6185-5E86-49AA-B76B-8548C5179419}"/>
          </ac:spMkLst>
        </pc:spChg>
        <pc:spChg chg="mod">
          <ac:chgData name="Kumpulainen, Teemu (RC-FI DI PA)" userId="9e6db126-282e-46a7-b7b4-e4a6760ecd8a" providerId="ADAL" clId="{69F2DA64-4A59-4EB1-80C9-6C8B92288DA2}" dt="2023-04-04T10:38:05.500" v="1393" actId="790"/>
          <ac:spMkLst>
            <pc:docMk/>
            <pc:sldMk cId="3532878887" sldId="2134804660"/>
            <ac:spMk id="5" creationId="{A54910CC-2F26-4A96-8537-03AF73F5C28B}"/>
          </ac:spMkLst>
        </pc:spChg>
        <pc:spChg chg="mod">
          <ac:chgData name="Kumpulainen, Teemu (RC-FI DI PA)" userId="9e6db126-282e-46a7-b7b4-e4a6760ecd8a" providerId="ADAL" clId="{69F2DA64-4A59-4EB1-80C9-6C8B92288DA2}" dt="2023-04-04T10:38:05.507" v="1400" actId="790"/>
          <ac:spMkLst>
            <pc:docMk/>
            <pc:sldMk cId="3532878887" sldId="2134804660"/>
            <ac:spMk id="10" creationId="{1F6B99DB-411F-43FB-9B80-49E1316411AE}"/>
          </ac:spMkLst>
        </pc:spChg>
        <pc:spChg chg="mod">
          <ac:chgData name="Kumpulainen, Teemu (RC-FI DI PA)" userId="9e6db126-282e-46a7-b7b4-e4a6760ecd8a" providerId="ADAL" clId="{69F2DA64-4A59-4EB1-80C9-6C8B92288DA2}" dt="2023-04-04T10:38:05.509" v="1403" actId="790"/>
          <ac:spMkLst>
            <pc:docMk/>
            <pc:sldMk cId="3532878887" sldId="2134804660"/>
            <ac:spMk id="15" creationId="{69318255-984A-4133-9DEC-6EF19CC3B843}"/>
          </ac:spMkLst>
        </pc:spChg>
        <pc:spChg chg="mod">
          <ac:chgData name="Kumpulainen, Teemu (RC-FI DI PA)" userId="9e6db126-282e-46a7-b7b4-e4a6760ecd8a" providerId="ADAL" clId="{69F2DA64-4A59-4EB1-80C9-6C8B92288DA2}" dt="2023-04-04T10:38:05.499" v="1392" actId="790"/>
          <ac:spMkLst>
            <pc:docMk/>
            <pc:sldMk cId="3532878887" sldId="2134804660"/>
            <ac:spMk id="17" creationId="{4C47804D-64B7-4334-BB4F-C7E53F553695}"/>
          </ac:spMkLst>
        </pc:spChg>
        <pc:graphicFrameChg chg="modGraphic">
          <ac:chgData name="Kumpulainen, Teemu (RC-FI DI PA)" userId="9e6db126-282e-46a7-b7b4-e4a6760ecd8a" providerId="ADAL" clId="{69F2DA64-4A59-4EB1-80C9-6C8B92288DA2}" dt="2023-04-04T10:38:05.506" v="1399" actId="790"/>
          <ac:graphicFrameMkLst>
            <pc:docMk/>
            <pc:sldMk cId="3532878887" sldId="2134804660"/>
            <ac:graphicFrameMk id="6" creationId="{31DEC2E6-1C1A-4A15-9F45-1EF9D66490E0}"/>
          </ac:graphicFrameMkLst>
        </pc:graphicFrameChg>
      </pc:sldChg>
      <pc:sldChg chg="addSp delSp modSp add del mod ord chgLayout modNotes">
        <pc:chgData name="Kumpulainen, Teemu (RC-FI DI PA)" userId="9e6db126-282e-46a7-b7b4-e4a6760ecd8a" providerId="ADAL" clId="{69F2DA64-4A59-4EB1-80C9-6C8B92288DA2}" dt="2023-04-04T11:13:37.928" v="1577" actId="47"/>
        <pc:sldMkLst>
          <pc:docMk/>
          <pc:sldMk cId="1181648557" sldId="2147376200"/>
        </pc:sldMkLst>
        <pc:spChg chg="mod ord">
          <ac:chgData name="Kumpulainen, Teemu (RC-FI DI PA)" userId="9e6db126-282e-46a7-b7b4-e4a6760ecd8a" providerId="ADAL" clId="{69F2DA64-4A59-4EB1-80C9-6C8B92288DA2}" dt="2023-04-04T11:13:28.158" v="1576" actId="700"/>
          <ac:spMkLst>
            <pc:docMk/>
            <pc:sldMk cId="1181648557" sldId="2147376200"/>
            <ac:spMk id="2" creationId="{3AFD6090-9015-4FC9-B529-04F4294B71FB}"/>
          </ac:spMkLst>
        </pc:spChg>
        <pc:spChg chg="mod ord">
          <ac:chgData name="Kumpulainen, Teemu (RC-FI DI PA)" userId="9e6db126-282e-46a7-b7b4-e4a6760ecd8a" providerId="ADAL" clId="{69F2DA64-4A59-4EB1-80C9-6C8B92288DA2}" dt="2023-04-04T11:13:28.158" v="1576" actId="700"/>
          <ac:spMkLst>
            <pc:docMk/>
            <pc:sldMk cId="1181648557" sldId="2147376200"/>
            <ac:spMk id="3" creationId="{65DA17AE-7E53-426F-A9A0-81F08959B9BA}"/>
          </ac:spMkLst>
        </pc:spChg>
        <pc:spChg chg="mod ord">
          <ac:chgData name="Kumpulainen, Teemu (RC-FI DI PA)" userId="9e6db126-282e-46a7-b7b4-e4a6760ecd8a" providerId="ADAL" clId="{69F2DA64-4A59-4EB1-80C9-6C8B92288DA2}" dt="2023-04-04T11:13:28.158" v="1576" actId="700"/>
          <ac:spMkLst>
            <pc:docMk/>
            <pc:sldMk cId="1181648557" sldId="2147376200"/>
            <ac:spMk id="5" creationId="{96760809-0F3E-4C5D-8C4A-628A097858C9}"/>
          </ac:spMkLst>
        </pc:spChg>
        <pc:spChg chg="add mod">
          <ac:chgData name="Kumpulainen, Teemu (RC-FI DI PA)" userId="9e6db126-282e-46a7-b7b4-e4a6760ecd8a" providerId="ADAL" clId="{69F2DA64-4A59-4EB1-80C9-6C8B92288DA2}" dt="2023-04-04T10:38:05.584" v="1488" actId="790"/>
          <ac:spMkLst>
            <pc:docMk/>
            <pc:sldMk cId="1181648557" sldId="2147376200"/>
            <ac:spMk id="7" creationId="{61DCB7AA-1297-9D1C-4BCE-AB15D2399C83}"/>
          </ac:spMkLst>
        </pc:spChg>
        <pc:spChg chg="add mod">
          <ac:chgData name="Kumpulainen, Teemu (RC-FI DI PA)" userId="9e6db126-282e-46a7-b7b4-e4a6760ecd8a" providerId="ADAL" clId="{69F2DA64-4A59-4EB1-80C9-6C8B92288DA2}" dt="2023-04-04T10:38:05.584" v="1489" actId="790"/>
          <ac:spMkLst>
            <pc:docMk/>
            <pc:sldMk cId="1181648557" sldId="2147376200"/>
            <ac:spMk id="10" creationId="{62106A5B-C618-34CD-170A-EC8E877A69B0}"/>
          </ac:spMkLst>
        </pc:spChg>
        <pc:spChg chg="add mod">
          <ac:chgData name="Kumpulainen, Teemu (RC-FI DI PA)" userId="9e6db126-282e-46a7-b7b4-e4a6760ecd8a" providerId="ADAL" clId="{69F2DA64-4A59-4EB1-80C9-6C8B92288DA2}" dt="2023-04-04T10:38:05.585" v="1490" actId="790"/>
          <ac:spMkLst>
            <pc:docMk/>
            <pc:sldMk cId="1181648557" sldId="2147376200"/>
            <ac:spMk id="11" creationId="{AB164BD6-5DBE-7A40-FEFC-18F8CD6CA90E}"/>
          </ac:spMkLst>
        </pc:spChg>
        <pc:spChg chg="add mod">
          <ac:chgData name="Kumpulainen, Teemu (RC-FI DI PA)" userId="9e6db126-282e-46a7-b7b4-e4a6760ecd8a" providerId="ADAL" clId="{69F2DA64-4A59-4EB1-80C9-6C8B92288DA2}" dt="2023-04-04T10:38:05.585" v="1491" actId="790"/>
          <ac:spMkLst>
            <pc:docMk/>
            <pc:sldMk cId="1181648557" sldId="2147376200"/>
            <ac:spMk id="12" creationId="{3C41F119-AB8F-0EC7-12DD-7F46F8DFD8E8}"/>
          </ac:spMkLst>
        </pc:spChg>
        <pc:spChg chg="add mod">
          <ac:chgData name="Kumpulainen, Teemu (RC-FI DI PA)" userId="9e6db126-282e-46a7-b7b4-e4a6760ecd8a" providerId="ADAL" clId="{69F2DA64-4A59-4EB1-80C9-6C8B92288DA2}" dt="2023-04-04T10:38:05.586" v="1492" actId="790"/>
          <ac:spMkLst>
            <pc:docMk/>
            <pc:sldMk cId="1181648557" sldId="2147376200"/>
            <ac:spMk id="13" creationId="{68C6FB40-ACAF-9161-D2F5-ED4D1B38C309}"/>
          </ac:spMkLst>
        </pc:spChg>
        <pc:spChg chg="add mod">
          <ac:chgData name="Kumpulainen, Teemu (RC-FI DI PA)" userId="9e6db126-282e-46a7-b7b4-e4a6760ecd8a" providerId="ADAL" clId="{69F2DA64-4A59-4EB1-80C9-6C8B92288DA2}" dt="2023-04-04T10:38:05.586" v="1493" actId="790"/>
          <ac:spMkLst>
            <pc:docMk/>
            <pc:sldMk cId="1181648557" sldId="2147376200"/>
            <ac:spMk id="14" creationId="{216AB865-004B-EF1D-EBC9-4498EA654010}"/>
          </ac:spMkLst>
        </pc:spChg>
        <pc:spChg chg="add mod">
          <ac:chgData name="Kumpulainen, Teemu (RC-FI DI PA)" userId="9e6db126-282e-46a7-b7b4-e4a6760ecd8a" providerId="ADAL" clId="{69F2DA64-4A59-4EB1-80C9-6C8B92288DA2}" dt="2023-04-04T10:38:05.587" v="1494" actId="790"/>
          <ac:spMkLst>
            <pc:docMk/>
            <pc:sldMk cId="1181648557" sldId="2147376200"/>
            <ac:spMk id="15" creationId="{76ED04C7-3325-8CFA-396D-4E580CC77BBD}"/>
          </ac:spMkLst>
        </pc:spChg>
        <pc:spChg chg="add mod">
          <ac:chgData name="Kumpulainen, Teemu (RC-FI DI PA)" userId="9e6db126-282e-46a7-b7b4-e4a6760ecd8a" providerId="ADAL" clId="{69F2DA64-4A59-4EB1-80C9-6C8B92288DA2}" dt="2023-04-04T10:38:05.587" v="1495" actId="790"/>
          <ac:spMkLst>
            <pc:docMk/>
            <pc:sldMk cId="1181648557" sldId="2147376200"/>
            <ac:spMk id="16" creationId="{609F0C42-17CC-E6FD-AD67-55DB3A0E2734}"/>
          </ac:spMkLst>
        </pc:spChg>
        <pc:spChg chg="add mod">
          <ac:chgData name="Kumpulainen, Teemu (RC-FI DI PA)" userId="9e6db126-282e-46a7-b7b4-e4a6760ecd8a" providerId="ADAL" clId="{69F2DA64-4A59-4EB1-80C9-6C8B92288DA2}" dt="2023-04-04T10:38:05.588" v="1496" actId="790"/>
          <ac:spMkLst>
            <pc:docMk/>
            <pc:sldMk cId="1181648557" sldId="2147376200"/>
            <ac:spMk id="18" creationId="{4624DC43-FCD4-73BE-707E-17722EC0F22C}"/>
          </ac:spMkLst>
        </pc:spChg>
        <pc:spChg chg="mod">
          <ac:chgData name="Kumpulainen, Teemu (RC-FI DI PA)" userId="9e6db126-282e-46a7-b7b4-e4a6760ecd8a" providerId="ADAL" clId="{69F2DA64-4A59-4EB1-80C9-6C8B92288DA2}" dt="2023-04-04T10:38:05.569" v="1479"/>
          <ac:spMkLst>
            <pc:docMk/>
            <pc:sldMk cId="1181648557" sldId="2147376200"/>
            <ac:spMk id="20" creationId="{5F654855-3FB9-47F3-A0A8-036695BB99CB}"/>
          </ac:spMkLst>
        </pc:spChg>
        <pc:spChg chg="mod">
          <ac:chgData name="Kumpulainen, Teemu (RC-FI DI PA)" userId="9e6db126-282e-46a7-b7b4-e4a6760ecd8a" providerId="ADAL" clId="{69F2DA64-4A59-4EB1-80C9-6C8B92288DA2}" dt="2023-04-04T10:38:05.577" v="1483" actId="790"/>
          <ac:spMkLst>
            <pc:docMk/>
            <pc:sldMk cId="1181648557" sldId="2147376200"/>
            <ac:spMk id="21" creationId="{89315E97-15C4-6344-E7D8-B9AE66CD7AAC}"/>
          </ac:spMkLst>
        </pc:spChg>
        <pc:spChg chg="del">
          <ac:chgData name="Kumpulainen, Teemu (RC-FI DI PA)" userId="9e6db126-282e-46a7-b7b4-e4a6760ecd8a" providerId="ADAL" clId="{69F2DA64-4A59-4EB1-80C9-6C8B92288DA2}" dt="2023-04-04T09:04:23.073" v="5" actId="478"/>
          <ac:spMkLst>
            <pc:docMk/>
            <pc:sldMk cId="1181648557" sldId="2147376200"/>
            <ac:spMk id="23" creationId="{B2D6950F-E346-B080-8372-1AB5872D0474}"/>
          </ac:spMkLst>
        </pc:spChg>
        <pc:spChg chg="del">
          <ac:chgData name="Kumpulainen, Teemu (RC-FI DI PA)" userId="9e6db126-282e-46a7-b7b4-e4a6760ecd8a" providerId="ADAL" clId="{69F2DA64-4A59-4EB1-80C9-6C8B92288DA2}" dt="2023-04-04T09:04:27.751" v="7" actId="478"/>
          <ac:spMkLst>
            <pc:docMk/>
            <pc:sldMk cId="1181648557" sldId="2147376200"/>
            <ac:spMk id="24" creationId="{101086D4-27F1-5971-2506-DB90113125D4}"/>
          </ac:spMkLst>
        </pc:spChg>
        <pc:graphicFrameChg chg="add mod modGraphic">
          <ac:chgData name="Kumpulainen, Teemu (RC-FI DI PA)" userId="9e6db126-282e-46a7-b7b4-e4a6760ecd8a" providerId="ADAL" clId="{69F2DA64-4A59-4EB1-80C9-6C8B92288DA2}" dt="2023-04-04T10:38:05.583" v="1487" actId="790"/>
          <ac:graphicFrameMkLst>
            <pc:docMk/>
            <pc:sldMk cId="1181648557" sldId="2147376200"/>
            <ac:graphicFrameMk id="4" creationId="{5A344BE2-1DDE-D4CE-CAAB-2F3D6839E370}"/>
          </ac:graphicFrameMkLst>
        </pc:graphicFrameChg>
        <pc:graphicFrameChg chg="add del mod">
          <ac:chgData name="Kumpulainen, Teemu (RC-FI DI PA)" userId="9e6db126-282e-46a7-b7b4-e4a6760ecd8a" providerId="ADAL" clId="{69F2DA64-4A59-4EB1-80C9-6C8B92288DA2}" dt="2023-04-04T09:05:12.396" v="19"/>
          <ac:graphicFrameMkLst>
            <pc:docMk/>
            <pc:sldMk cId="1181648557" sldId="2147376200"/>
            <ac:graphicFrameMk id="8" creationId="{D513293F-4C4F-33CC-2EC3-0312716D5213}"/>
          </ac:graphicFrameMkLst>
        </pc:graphicFrameChg>
        <pc:picChg chg="mod">
          <ac:chgData name="Kumpulainen, Teemu (RC-FI DI PA)" userId="9e6db126-282e-46a7-b7b4-e4a6760ecd8a" providerId="ADAL" clId="{69F2DA64-4A59-4EB1-80C9-6C8B92288DA2}" dt="2023-04-04T09:04:50.781" v="13" actId="1076"/>
          <ac:picMkLst>
            <pc:docMk/>
            <pc:sldMk cId="1181648557" sldId="2147376200"/>
            <ac:picMk id="6" creationId="{83BB9BD9-799B-A418-D804-F9422793ACF0}"/>
          </ac:picMkLst>
        </pc:picChg>
        <pc:picChg chg="del">
          <ac:chgData name="Kumpulainen, Teemu (RC-FI DI PA)" userId="9e6db126-282e-46a7-b7b4-e4a6760ecd8a" providerId="ADAL" clId="{69F2DA64-4A59-4EB1-80C9-6C8B92288DA2}" dt="2023-04-04T09:04:20.967" v="4" actId="478"/>
          <ac:picMkLst>
            <pc:docMk/>
            <pc:sldMk cId="1181648557" sldId="2147376200"/>
            <ac:picMk id="9" creationId="{7CF53D0F-B88F-6043-50B6-0A1098E4B584}"/>
          </ac:picMkLst>
        </pc:picChg>
        <pc:picChg chg="del">
          <ac:chgData name="Kumpulainen, Teemu (RC-FI DI PA)" userId="9e6db126-282e-46a7-b7b4-e4a6760ecd8a" providerId="ADAL" clId="{69F2DA64-4A59-4EB1-80C9-6C8B92288DA2}" dt="2023-04-04T09:04:26.352" v="6" actId="478"/>
          <ac:picMkLst>
            <pc:docMk/>
            <pc:sldMk cId="1181648557" sldId="2147376200"/>
            <ac:picMk id="17" creationId="{0F0B8F9A-8083-3180-6F24-09C4D101E24E}"/>
          </ac:picMkLst>
        </pc:picChg>
      </pc:sldChg>
      <pc:sldChg chg="modSp del mod modNotes">
        <pc:chgData name="Kumpulainen, Teemu (RC-FI DI PA)" userId="9e6db126-282e-46a7-b7b4-e4a6760ecd8a" providerId="ADAL" clId="{69F2DA64-4A59-4EB1-80C9-6C8B92288DA2}" dt="2023-04-04T10:39:31.795" v="1560" actId="47"/>
        <pc:sldMkLst>
          <pc:docMk/>
          <pc:sldMk cId="3138509539" sldId="2147376947"/>
        </pc:sldMkLst>
        <pc:spChg chg="mod">
          <ac:chgData name="Kumpulainen, Teemu (RC-FI DI PA)" userId="9e6db126-282e-46a7-b7b4-e4a6760ecd8a" providerId="ADAL" clId="{69F2DA64-4A59-4EB1-80C9-6C8B92288DA2}" dt="2023-04-04T10:38:05.099" v="865" actId="790"/>
          <ac:spMkLst>
            <pc:docMk/>
            <pc:sldMk cId="3138509539" sldId="2147376947"/>
            <ac:spMk id="4" creationId="{B04760B1-F619-41A3-A68E-FF42EA047DF9}"/>
          </ac:spMkLst>
        </pc:spChg>
        <pc:spChg chg="mod">
          <ac:chgData name="Kumpulainen, Teemu (RC-FI DI PA)" userId="9e6db126-282e-46a7-b7b4-e4a6760ecd8a" providerId="ADAL" clId="{69F2DA64-4A59-4EB1-80C9-6C8B92288DA2}" dt="2023-04-04T10:38:05.091" v="864" actId="790"/>
          <ac:spMkLst>
            <pc:docMk/>
            <pc:sldMk cId="3138509539" sldId="2147376947"/>
            <ac:spMk id="5" creationId="{2F41CA1D-FFE1-4928-B9DB-40BE1F1F2348}"/>
          </ac:spMkLst>
        </pc:spChg>
        <pc:spChg chg="mod">
          <ac:chgData name="Kumpulainen, Teemu (RC-FI DI PA)" userId="9e6db126-282e-46a7-b7b4-e4a6760ecd8a" providerId="ADAL" clId="{69F2DA64-4A59-4EB1-80C9-6C8B92288DA2}" dt="2023-04-04T10:38:05.103" v="870" actId="790"/>
          <ac:spMkLst>
            <pc:docMk/>
            <pc:sldMk cId="3138509539" sldId="2147376947"/>
            <ac:spMk id="8" creationId="{601E0C2E-470C-4B30-B621-3F9A2FB4D545}"/>
          </ac:spMkLst>
        </pc:spChg>
        <pc:spChg chg="mod">
          <ac:chgData name="Kumpulainen, Teemu (RC-FI DI PA)" userId="9e6db126-282e-46a7-b7b4-e4a6760ecd8a" providerId="ADAL" clId="{69F2DA64-4A59-4EB1-80C9-6C8B92288DA2}" dt="2023-04-04T10:38:05.103" v="871" actId="790"/>
          <ac:spMkLst>
            <pc:docMk/>
            <pc:sldMk cId="3138509539" sldId="2147376947"/>
            <ac:spMk id="9" creationId="{032A26AC-B22E-4B16-A624-90EC7300CB54}"/>
          </ac:spMkLst>
        </pc:spChg>
        <pc:spChg chg="mod">
          <ac:chgData name="Kumpulainen, Teemu (RC-FI DI PA)" userId="9e6db126-282e-46a7-b7b4-e4a6760ecd8a" providerId="ADAL" clId="{69F2DA64-4A59-4EB1-80C9-6C8B92288DA2}" dt="2023-04-04T10:38:05.104" v="872" actId="790"/>
          <ac:spMkLst>
            <pc:docMk/>
            <pc:sldMk cId="3138509539" sldId="2147376947"/>
            <ac:spMk id="10" creationId="{48C3A4BC-52B8-47D8-AB5A-8FCAAF3C2CC8}"/>
          </ac:spMkLst>
        </pc:spChg>
        <pc:spChg chg="mod">
          <ac:chgData name="Kumpulainen, Teemu (RC-FI DI PA)" userId="9e6db126-282e-46a7-b7b4-e4a6760ecd8a" providerId="ADAL" clId="{69F2DA64-4A59-4EB1-80C9-6C8B92288DA2}" dt="2023-04-04T10:38:05.105" v="873" actId="790"/>
          <ac:spMkLst>
            <pc:docMk/>
            <pc:sldMk cId="3138509539" sldId="2147376947"/>
            <ac:spMk id="11" creationId="{07344D63-C69B-4397-A6C1-47D0175E3FE0}"/>
          </ac:spMkLst>
        </pc:spChg>
        <pc:spChg chg="mod">
          <ac:chgData name="Kumpulainen, Teemu (RC-FI DI PA)" userId="9e6db126-282e-46a7-b7b4-e4a6760ecd8a" providerId="ADAL" clId="{69F2DA64-4A59-4EB1-80C9-6C8B92288DA2}" dt="2023-04-04T10:38:05.101" v="867" actId="790"/>
          <ac:spMkLst>
            <pc:docMk/>
            <pc:sldMk cId="3138509539" sldId="2147376947"/>
            <ac:spMk id="12" creationId="{0F50299C-9C71-4657-82D1-86F9C1AB7A79}"/>
          </ac:spMkLst>
        </pc:spChg>
        <pc:spChg chg="mod">
          <ac:chgData name="Kumpulainen, Teemu (RC-FI DI PA)" userId="9e6db126-282e-46a7-b7b4-e4a6760ecd8a" providerId="ADAL" clId="{69F2DA64-4A59-4EB1-80C9-6C8B92288DA2}" dt="2023-04-04T10:38:05.101" v="868" actId="790"/>
          <ac:spMkLst>
            <pc:docMk/>
            <pc:sldMk cId="3138509539" sldId="2147376947"/>
            <ac:spMk id="13" creationId="{9A8D5229-1475-4B6B-B66F-50707AA48628}"/>
          </ac:spMkLst>
        </pc:spChg>
        <pc:spChg chg="mod">
          <ac:chgData name="Kumpulainen, Teemu (RC-FI DI PA)" userId="9e6db126-282e-46a7-b7b4-e4a6760ecd8a" providerId="ADAL" clId="{69F2DA64-4A59-4EB1-80C9-6C8B92288DA2}" dt="2023-04-04T10:38:05.102" v="869" actId="790"/>
          <ac:spMkLst>
            <pc:docMk/>
            <pc:sldMk cId="3138509539" sldId="2147376947"/>
            <ac:spMk id="14" creationId="{E5F54D2A-DE1A-4F28-98E9-F4623DE8881A}"/>
          </ac:spMkLst>
        </pc:spChg>
        <pc:spChg chg="mod">
          <ac:chgData name="Kumpulainen, Teemu (RC-FI DI PA)" userId="9e6db126-282e-46a7-b7b4-e4a6760ecd8a" providerId="ADAL" clId="{69F2DA64-4A59-4EB1-80C9-6C8B92288DA2}" dt="2023-04-04T10:38:05.105" v="874" actId="790"/>
          <ac:spMkLst>
            <pc:docMk/>
            <pc:sldMk cId="3138509539" sldId="2147376947"/>
            <ac:spMk id="16" creationId="{72ABE4E7-768B-49E9-AE29-80BCE6B0993B}"/>
          </ac:spMkLst>
        </pc:spChg>
        <pc:spChg chg="mod">
          <ac:chgData name="Kumpulainen, Teemu (RC-FI DI PA)" userId="9e6db126-282e-46a7-b7b4-e4a6760ecd8a" providerId="ADAL" clId="{69F2DA64-4A59-4EB1-80C9-6C8B92288DA2}" dt="2023-04-04T10:38:05.106" v="875" actId="790"/>
          <ac:spMkLst>
            <pc:docMk/>
            <pc:sldMk cId="3138509539" sldId="2147376947"/>
            <ac:spMk id="18" creationId="{EC54CD9B-D06D-4447-9A2A-17E1C9451D1E}"/>
          </ac:spMkLst>
        </pc:spChg>
        <pc:spChg chg="mod">
          <ac:chgData name="Kumpulainen, Teemu (RC-FI DI PA)" userId="9e6db126-282e-46a7-b7b4-e4a6760ecd8a" providerId="ADAL" clId="{69F2DA64-4A59-4EB1-80C9-6C8B92288DA2}" dt="2023-04-04T10:38:05.106" v="876" actId="790"/>
          <ac:spMkLst>
            <pc:docMk/>
            <pc:sldMk cId="3138509539" sldId="2147376947"/>
            <ac:spMk id="19" creationId="{8D46B7D6-FD56-4773-8970-23B7AA03A97E}"/>
          </ac:spMkLst>
        </pc:spChg>
        <pc:spChg chg="mod">
          <ac:chgData name="Kumpulainen, Teemu (RC-FI DI PA)" userId="9e6db126-282e-46a7-b7b4-e4a6760ecd8a" providerId="ADAL" clId="{69F2DA64-4A59-4EB1-80C9-6C8B92288DA2}" dt="2023-04-04T10:38:05.107" v="877" actId="790"/>
          <ac:spMkLst>
            <pc:docMk/>
            <pc:sldMk cId="3138509539" sldId="2147376947"/>
            <ac:spMk id="20" creationId="{36A8AAF3-F1A0-4EDA-985E-ACB5CA5144BB}"/>
          </ac:spMkLst>
        </pc:spChg>
        <pc:spChg chg="mod">
          <ac:chgData name="Kumpulainen, Teemu (RC-FI DI PA)" userId="9e6db126-282e-46a7-b7b4-e4a6760ecd8a" providerId="ADAL" clId="{69F2DA64-4A59-4EB1-80C9-6C8B92288DA2}" dt="2023-04-04T10:38:05.108" v="878" actId="790"/>
          <ac:spMkLst>
            <pc:docMk/>
            <pc:sldMk cId="3138509539" sldId="2147376947"/>
            <ac:spMk id="21" creationId="{5418D493-EFE6-4E08-BF75-65A77D2017B2}"/>
          </ac:spMkLst>
        </pc:spChg>
        <pc:spChg chg="mod">
          <ac:chgData name="Kumpulainen, Teemu (RC-FI DI PA)" userId="9e6db126-282e-46a7-b7b4-e4a6760ecd8a" providerId="ADAL" clId="{69F2DA64-4A59-4EB1-80C9-6C8B92288DA2}" dt="2023-04-04T10:38:05.108" v="879" actId="790"/>
          <ac:spMkLst>
            <pc:docMk/>
            <pc:sldMk cId="3138509539" sldId="2147376947"/>
            <ac:spMk id="22" creationId="{1872200C-039B-4153-8765-CCD94671D94D}"/>
          </ac:spMkLst>
        </pc:spChg>
        <pc:spChg chg="mod">
          <ac:chgData name="Kumpulainen, Teemu (RC-FI DI PA)" userId="9e6db126-282e-46a7-b7b4-e4a6760ecd8a" providerId="ADAL" clId="{69F2DA64-4A59-4EB1-80C9-6C8B92288DA2}" dt="2023-04-04T10:38:05.109" v="880" actId="790"/>
          <ac:spMkLst>
            <pc:docMk/>
            <pc:sldMk cId="3138509539" sldId="2147376947"/>
            <ac:spMk id="24" creationId="{18014E57-C28C-4384-8090-77BD2995A875}"/>
          </ac:spMkLst>
        </pc:spChg>
        <pc:spChg chg="mod">
          <ac:chgData name="Kumpulainen, Teemu (RC-FI DI PA)" userId="9e6db126-282e-46a7-b7b4-e4a6760ecd8a" providerId="ADAL" clId="{69F2DA64-4A59-4EB1-80C9-6C8B92288DA2}" dt="2023-04-04T10:38:05.109" v="881" actId="790"/>
          <ac:spMkLst>
            <pc:docMk/>
            <pc:sldMk cId="3138509539" sldId="2147376947"/>
            <ac:spMk id="25" creationId="{B0E22B3A-5DB6-4011-8756-3FFA2F0A0D1C}"/>
          </ac:spMkLst>
        </pc:spChg>
        <pc:spChg chg="mod">
          <ac:chgData name="Kumpulainen, Teemu (RC-FI DI PA)" userId="9e6db126-282e-46a7-b7b4-e4a6760ecd8a" providerId="ADAL" clId="{69F2DA64-4A59-4EB1-80C9-6C8B92288DA2}" dt="2023-04-04T10:38:05.112" v="886" actId="790"/>
          <ac:spMkLst>
            <pc:docMk/>
            <pc:sldMk cId="3138509539" sldId="2147376947"/>
            <ac:spMk id="28" creationId="{D7368E04-54F6-4C92-BFF9-419C0AE7F884}"/>
          </ac:spMkLst>
        </pc:spChg>
        <pc:spChg chg="mod">
          <ac:chgData name="Kumpulainen, Teemu (RC-FI DI PA)" userId="9e6db126-282e-46a7-b7b4-e4a6760ecd8a" providerId="ADAL" clId="{69F2DA64-4A59-4EB1-80C9-6C8B92288DA2}" dt="2023-04-04T10:38:05.113" v="887" actId="790"/>
          <ac:spMkLst>
            <pc:docMk/>
            <pc:sldMk cId="3138509539" sldId="2147376947"/>
            <ac:spMk id="29" creationId="{752731AF-F302-41BC-A231-C0DAE6A0C960}"/>
          </ac:spMkLst>
        </pc:spChg>
        <pc:spChg chg="mod">
          <ac:chgData name="Kumpulainen, Teemu (RC-FI DI PA)" userId="9e6db126-282e-46a7-b7b4-e4a6760ecd8a" providerId="ADAL" clId="{69F2DA64-4A59-4EB1-80C9-6C8B92288DA2}" dt="2023-04-04T10:38:05.114" v="890" actId="790"/>
          <ac:spMkLst>
            <pc:docMk/>
            <pc:sldMk cId="3138509539" sldId="2147376947"/>
            <ac:spMk id="31" creationId="{F85F36E1-A5C0-4452-B9D0-FEAD7A8FA537}"/>
          </ac:spMkLst>
        </pc:spChg>
        <pc:spChg chg="mod">
          <ac:chgData name="Kumpulainen, Teemu (RC-FI DI PA)" userId="9e6db126-282e-46a7-b7b4-e4a6760ecd8a" providerId="ADAL" clId="{69F2DA64-4A59-4EB1-80C9-6C8B92288DA2}" dt="2023-04-04T10:38:05.115" v="891" actId="790"/>
          <ac:spMkLst>
            <pc:docMk/>
            <pc:sldMk cId="3138509539" sldId="2147376947"/>
            <ac:spMk id="32" creationId="{68D0DFE4-06CC-4FAF-A247-AC795CB78661}"/>
          </ac:spMkLst>
        </pc:spChg>
        <pc:spChg chg="mod">
          <ac:chgData name="Kumpulainen, Teemu (RC-FI DI PA)" userId="9e6db126-282e-46a7-b7b4-e4a6760ecd8a" providerId="ADAL" clId="{69F2DA64-4A59-4EB1-80C9-6C8B92288DA2}" dt="2023-04-04T10:38:05.113" v="888" actId="790"/>
          <ac:spMkLst>
            <pc:docMk/>
            <pc:sldMk cId="3138509539" sldId="2147376947"/>
            <ac:spMk id="33" creationId="{C6B753C7-89AF-42B7-AB4D-AEE372DAE851}"/>
          </ac:spMkLst>
        </pc:spChg>
        <pc:spChg chg="mod">
          <ac:chgData name="Kumpulainen, Teemu (RC-FI DI PA)" userId="9e6db126-282e-46a7-b7b4-e4a6760ecd8a" providerId="ADAL" clId="{69F2DA64-4A59-4EB1-80C9-6C8B92288DA2}" dt="2023-04-04T10:38:05.114" v="889" actId="790"/>
          <ac:spMkLst>
            <pc:docMk/>
            <pc:sldMk cId="3138509539" sldId="2147376947"/>
            <ac:spMk id="34" creationId="{04DAECCC-5D6B-418C-96F3-45636E813E17}"/>
          </ac:spMkLst>
        </pc:spChg>
        <pc:spChg chg="mod">
          <ac:chgData name="Kumpulainen, Teemu (RC-FI DI PA)" userId="9e6db126-282e-46a7-b7b4-e4a6760ecd8a" providerId="ADAL" clId="{69F2DA64-4A59-4EB1-80C9-6C8B92288DA2}" dt="2023-04-04T10:38:05.111" v="884" actId="790"/>
          <ac:spMkLst>
            <pc:docMk/>
            <pc:sldMk cId="3138509539" sldId="2147376947"/>
            <ac:spMk id="35" creationId="{C672DC58-C721-4083-9B4F-570985F45D3E}"/>
          </ac:spMkLst>
        </pc:spChg>
        <pc:spChg chg="mod">
          <ac:chgData name="Kumpulainen, Teemu (RC-FI DI PA)" userId="9e6db126-282e-46a7-b7b4-e4a6760ecd8a" providerId="ADAL" clId="{69F2DA64-4A59-4EB1-80C9-6C8B92288DA2}" dt="2023-04-04T10:38:05.112" v="885" actId="790"/>
          <ac:spMkLst>
            <pc:docMk/>
            <pc:sldMk cId="3138509539" sldId="2147376947"/>
            <ac:spMk id="36" creationId="{5616B092-90E6-4C27-B012-A378C4061251}"/>
          </ac:spMkLst>
        </pc:spChg>
        <pc:spChg chg="mod">
          <ac:chgData name="Kumpulainen, Teemu (RC-FI DI PA)" userId="9e6db126-282e-46a7-b7b4-e4a6760ecd8a" providerId="ADAL" clId="{69F2DA64-4A59-4EB1-80C9-6C8B92288DA2}" dt="2023-04-04T10:38:05.110" v="882" actId="790"/>
          <ac:spMkLst>
            <pc:docMk/>
            <pc:sldMk cId="3138509539" sldId="2147376947"/>
            <ac:spMk id="37" creationId="{C3CA0ED3-BB86-4F93-AFDD-DE719BC5D98D}"/>
          </ac:spMkLst>
        </pc:spChg>
        <pc:spChg chg="mod">
          <ac:chgData name="Kumpulainen, Teemu (RC-FI DI PA)" userId="9e6db126-282e-46a7-b7b4-e4a6760ecd8a" providerId="ADAL" clId="{69F2DA64-4A59-4EB1-80C9-6C8B92288DA2}" dt="2023-04-04T10:38:05.110" v="883" actId="790"/>
          <ac:spMkLst>
            <pc:docMk/>
            <pc:sldMk cId="3138509539" sldId="2147376947"/>
            <ac:spMk id="38" creationId="{8970A774-92AA-46E2-8A71-336F0D82F211}"/>
          </ac:spMkLst>
        </pc:spChg>
        <pc:spChg chg="mod">
          <ac:chgData name="Kumpulainen, Teemu (RC-FI DI PA)" userId="9e6db126-282e-46a7-b7b4-e4a6760ecd8a" providerId="ADAL" clId="{69F2DA64-4A59-4EB1-80C9-6C8B92288DA2}" dt="2023-04-04T10:38:05.117" v="894" actId="790"/>
          <ac:spMkLst>
            <pc:docMk/>
            <pc:sldMk cId="3138509539" sldId="2147376947"/>
            <ac:spMk id="41" creationId="{4D9C862D-9860-44A6-A1A6-9A95F00E2F01}"/>
          </ac:spMkLst>
        </pc:spChg>
        <pc:spChg chg="mod">
          <ac:chgData name="Kumpulainen, Teemu (RC-FI DI PA)" userId="9e6db126-282e-46a7-b7b4-e4a6760ecd8a" providerId="ADAL" clId="{69F2DA64-4A59-4EB1-80C9-6C8B92288DA2}" dt="2023-04-04T10:38:05.116" v="892" actId="790"/>
          <ac:spMkLst>
            <pc:docMk/>
            <pc:sldMk cId="3138509539" sldId="2147376947"/>
            <ac:spMk id="42" creationId="{09043AC0-E8C1-42A3-8BB8-22A0B423780C}"/>
          </ac:spMkLst>
        </pc:spChg>
        <pc:spChg chg="mod">
          <ac:chgData name="Kumpulainen, Teemu (RC-FI DI PA)" userId="9e6db126-282e-46a7-b7b4-e4a6760ecd8a" providerId="ADAL" clId="{69F2DA64-4A59-4EB1-80C9-6C8B92288DA2}" dt="2023-04-04T10:38:05.116" v="893"/>
          <ac:spMkLst>
            <pc:docMk/>
            <pc:sldMk cId="3138509539" sldId="2147376947"/>
            <ac:spMk id="43" creationId="{CEEEEBCE-CE9D-4ACF-8A82-4D5EEC6B8DF2}"/>
          </ac:spMkLst>
        </pc:spChg>
        <pc:spChg chg="mod">
          <ac:chgData name="Kumpulainen, Teemu (RC-FI DI PA)" userId="9e6db126-282e-46a7-b7b4-e4a6760ecd8a" providerId="ADAL" clId="{69F2DA64-4A59-4EB1-80C9-6C8B92288DA2}" dt="2023-04-04T10:38:05.119" v="897" actId="790"/>
          <ac:spMkLst>
            <pc:docMk/>
            <pc:sldMk cId="3138509539" sldId="2147376947"/>
            <ac:spMk id="46" creationId="{AD9DCB4B-4229-48B9-9B19-AB8BFB804FBF}"/>
          </ac:spMkLst>
        </pc:spChg>
        <pc:spChg chg="mod">
          <ac:chgData name="Kumpulainen, Teemu (RC-FI DI PA)" userId="9e6db126-282e-46a7-b7b4-e4a6760ecd8a" providerId="ADAL" clId="{69F2DA64-4A59-4EB1-80C9-6C8B92288DA2}" dt="2023-04-04T10:38:05.118" v="895" actId="790"/>
          <ac:spMkLst>
            <pc:docMk/>
            <pc:sldMk cId="3138509539" sldId="2147376947"/>
            <ac:spMk id="47" creationId="{B7380574-A006-47EC-830D-97AB701E89E2}"/>
          </ac:spMkLst>
        </pc:spChg>
        <pc:spChg chg="mod">
          <ac:chgData name="Kumpulainen, Teemu (RC-FI DI PA)" userId="9e6db126-282e-46a7-b7b4-e4a6760ecd8a" providerId="ADAL" clId="{69F2DA64-4A59-4EB1-80C9-6C8B92288DA2}" dt="2023-04-04T10:38:05.118" v="896"/>
          <ac:spMkLst>
            <pc:docMk/>
            <pc:sldMk cId="3138509539" sldId="2147376947"/>
            <ac:spMk id="48" creationId="{7FCA96F5-34B3-480D-B728-8902D75E064B}"/>
          </ac:spMkLst>
        </pc:spChg>
        <pc:spChg chg="mod">
          <ac:chgData name="Kumpulainen, Teemu (RC-FI DI PA)" userId="9e6db126-282e-46a7-b7b4-e4a6760ecd8a" providerId="ADAL" clId="{69F2DA64-4A59-4EB1-80C9-6C8B92288DA2}" dt="2023-04-04T10:38:05.120" v="898" actId="790"/>
          <ac:spMkLst>
            <pc:docMk/>
            <pc:sldMk cId="3138509539" sldId="2147376947"/>
            <ac:spMk id="49" creationId="{5D2F78E5-18F8-4179-9F8E-82BBA4B0478C}"/>
          </ac:spMkLst>
        </pc:spChg>
        <pc:spChg chg="mod">
          <ac:chgData name="Kumpulainen, Teemu (RC-FI DI PA)" userId="9e6db126-282e-46a7-b7b4-e4a6760ecd8a" providerId="ADAL" clId="{69F2DA64-4A59-4EB1-80C9-6C8B92288DA2}" dt="2023-04-04T10:38:05.127" v="899" actId="790"/>
          <ac:spMkLst>
            <pc:docMk/>
            <pc:sldMk cId="3138509539" sldId="2147376947"/>
            <ac:spMk id="50" creationId="{E1FF1EAB-33D0-4B25-B2B5-B0F5FF591B6B}"/>
          </ac:spMkLst>
        </pc:spChg>
        <pc:spChg chg="mod">
          <ac:chgData name="Kumpulainen, Teemu (RC-FI DI PA)" userId="9e6db126-282e-46a7-b7b4-e4a6760ecd8a" providerId="ADAL" clId="{69F2DA64-4A59-4EB1-80C9-6C8B92288DA2}" dt="2023-04-04T10:38:05.128" v="900" actId="790"/>
          <ac:spMkLst>
            <pc:docMk/>
            <pc:sldMk cId="3138509539" sldId="2147376947"/>
            <ac:spMk id="51" creationId="{D7E8CFBC-C901-454D-B99C-26919A2EC7E2}"/>
          </ac:spMkLst>
        </pc:spChg>
        <pc:spChg chg="mod">
          <ac:chgData name="Kumpulainen, Teemu (RC-FI DI PA)" userId="9e6db126-282e-46a7-b7b4-e4a6760ecd8a" providerId="ADAL" clId="{69F2DA64-4A59-4EB1-80C9-6C8B92288DA2}" dt="2023-04-04T10:38:05.129" v="901" actId="790"/>
          <ac:spMkLst>
            <pc:docMk/>
            <pc:sldMk cId="3138509539" sldId="2147376947"/>
            <ac:spMk id="52" creationId="{EDF891C3-80E1-4DB8-A516-904744665334}"/>
          </ac:spMkLst>
        </pc:spChg>
        <pc:spChg chg="mod">
          <ac:chgData name="Kumpulainen, Teemu (RC-FI DI PA)" userId="9e6db126-282e-46a7-b7b4-e4a6760ecd8a" providerId="ADAL" clId="{69F2DA64-4A59-4EB1-80C9-6C8B92288DA2}" dt="2023-04-04T10:38:05.129" v="902" actId="790"/>
          <ac:spMkLst>
            <pc:docMk/>
            <pc:sldMk cId="3138509539" sldId="2147376947"/>
            <ac:spMk id="53" creationId="{3687F6A4-9D68-469B-A387-9883BA22702F}"/>
          </ac:spMkLst>
        </pc:spChg>
        <pc:spChg chg="mod">
          <ac:chgData name="Kumpulainen, Teemu (RC-FI DI PA)" userId="9e6db126-282e-46a7-b7b4-e4a6760ecd8a" providerId="ADAL" clId="{69F2DA64-4A59-4EB1-80C9-6C8B92288DA2}" dt="2023-04-04T10:38:05.130" v="903" actId="790"/>
          <ac:spMkLst>
            <pc:docMk/>
            <pc:sldMk cId="3138509539" sldId="2147376947"/>
            <ac:spMk id="54" creationId="{F9B8C0E0-F508-4456-B9B0-91003A914F71}"/>
          </ac:spMkLst>
        </pc:spChg>
        <pc:spChg chg="mod">
          <ac:chgData name="Kumpulainen, Teemu (RC-FI DI PA)" userId="9e6db126-282e-46a7-b7b4-e4a6760ecd8a" providerId="ADAL" clId="{69F2DA64-4A59-4EB1-80C9-6C8B92288DA2}" dt="2023-04-04T10:38:05.131" v="904" actId="790"/>
          <ac:spMkLst>
            <pc:docMk/>
            <pc:sldMk cId="3138509539" sldId="2147376947"/>
            <ac:spMk id="55" creationId="{61301E65-A639-4564-AB60-D1D12CA5DC37}"/>
          </ac:spMkLst>
        </pc:spChg>
        <pc:spChg chg="mod">
          <ac:chgData name="Kumpulainen, Teemu (RC-FI DI PA)" userId="9e6db126-282e-46a7-b7b4-e4a6760ecd8a" providerId="ADAL" clId="{69F2DA64-4A59-4EB1-80C9-6C8B92288DA2}" dt="2023-04-04T10:38:05.132" v="905" actId="790"/>
          <ac:spMkLst>
            <pc:docMk/>
            <pc:sldMk cId="3138509539" sldId="2147376947"/>
            <ac:spMk id="56" creationId="{DFB594D0-7BE8-408B-BFF4-0EBDFE1A6A8F}"/>
          </ac:spMkLst>
        </pc:spChg>
        <pc:spChg chg="mod">
          <ac:chgData name="Kumpulainen, Teemu (RC-FI DI PA)" userId="9e6db126-282e-46a7-b7b4-e4a6760ecd8a" providerId="ADAL" clId="{69F2DA64-4A59-4EB1-80C9-6C8B92288DA2}" dt="2023-04-04T10:38:05.132" v="906" actId="790"/>
          <ac:spMkLst>
            <pc:docMk/>
            <pc:sldMk cId="3138509539" sldId="2147376947"/>
            <ac:spMk id="57" creationId="{4B0C6FC6-EA26-4341-904A-A94916B3C11B}"/>
          </ac:spMkLst>
        </pc:spChg>
        <pc:spChg chg="mod">
          <ac:chgData name="Kumpulainen, Teemu (RC-FI DI PA)" userId="9e6db126-282e-46a7-b7b4-e4a6760ecd8a" providerId="ADAL" clId="{69F2DA64-4A59-4EB1-80C9-6C8B92288DA2}" dt="2023-04-04T10:38:05.100" v="866" actId="790"/>
          <ac:spMkLst>
            <pc:docMk/>
            <pc:sldMk cId="3138509539" sldId="2147376947"/>
            <ac:spMk id="58" creationId="{A27F5632-2F73-490F-BE52-0A994B89DED8}"/>
          </ac:spMkLst>
        </pc:spChg>
      </pc:sldChg>
      <pc:sldChg chg="modSp del mod modNotes">
        <pc:chgData name="Kumpulainen, Teemu (RC-FI DI PA)" userId="9e6db126-282e-46a7-b7b4-e4a6760ecd8a" providerId="ADAL" clId="{69F2DA64-4A59-4EB1-80C9-6C8B92288DA2}" dt="2023-04-04T10:39:53.585" v="1563" actId="47"/>
        <pc:sldMkLst>
          <pc:docMk/>
          <pc:sldMk cId="2561298013" sldId="2147376948"/>
        </pc:sldMkLst>
        <pc:spChg chg="mod">
          <ac:chgData name="Kumpulainen, Teemu (RC-FI DI PA)" userId="9e6db126-282e-46a7-b7b4-e4a6760ecd8a" providerId="ADAL" clId="{69F2DA64-4A59-4EB1-80C9-6C8B92288DA2}" dt="2023-04-04T10:38:05.462" v="1351" actId="790"/>
          <ac:spMkLst>
            <pc:docMk/>
            <pc:sldMk cId="2561298013" sldId="2147376948"/>
            <ac:spMk id="2" creationId="{159D91B5-EC65-4AD0-B7ED-6243C8683DAA}"/>
          </ac:spMkLst>
        </pc:spChg>
        <pc:spChg chg="mod">
          <ac:chgData name="Kumpulainen, Teemu (RC-FI DI PA)" userId="9e6db126-282e-46a7-b7b4-e4a6760ecd8a" providerId="ADAL" clId="{69F2DA64-4A59-4EB1-80C9-6C8B92288DA2}" dt="2023-04-04T10:38:05.467" v="1352" actId="790"/>
          <ac:spMkLst>
            <pc:docMk/>
            <pc:sldMk cId="2561298013" sldId="2147376948"/>
            <ac:spMk id="3" creationId="{08071B37-43D5-4E7C-9A86-2606A3D69F86}"/>
          </ac:spMkLst>
        </pc:spChg>
        <pc:spChg chg="mod">
          <ac:chgData name="Kumpulainen, Teemu (RC-FI DI PA)" userId="9e6db126-282e-46a7-b7b4-e4a6760ecd8a" providerId="ADAL" clId="{69F2DA64-4A59-4EB1-80C9-6C8B92288DA2}" dt="2023-04-04T10:38:05.469" v="1354" actId="790"/>
          <ac:spMkLst>
            <pc:docMk/>
            <pc:sldMk cId="2561298013" sldId="2147376948"/>
            <ac:spMk id="6" creationId="{6C30017F-A613-4401-9DAE-FC46D79D977F}"/>
          </ac:spMkLst>
        </pc:spChg>
        <pc:spChg chg="mod">
          <ac:chgData name="Kumpulainen, Teemu (RC-FI DI PA)" userId="9e6db126-282e-46a7-b7b4-e4a6760ecd8a" providerId="ADAL" clId="{69F2DA64-4A59-4EB1-80C9-6C8B92288DA2}" dt="2023-04-04T10:38:05.470" v="1355" actId="790"/>
          <ac:spMkLst>
            <pc:docMk/>
            <pc:sldMk cId="2561298013" sldId="2147376948"/>
            <ac:spMk id="7" creationId="{B0D79DBB-507F-4040-87DB-9A9ED68195BF}"/>
          </ac:spMkLst>
        </pc:spChg>
        <pc:spChg chg="mod">
          <ac:chgData name="Kumpulainen, Teemu (RC-FI DI PA)" userId="9e6db126-282e-46a7-b7b4-e4a6760ecd8a" providerId="ADAL" clId="{69F2DA64-4A59-4EB1-80C9-6C8B92288DA2}" dt="2023-04-04T10:38:05.471" v="1356" actId="790"/>
          <ac:spMkLst>
            <pc:docMk/>
            <pc:sldMk cId="2561298013" sldId="2147376948"/>
            <ac:spMk id="8" creationId="{F23917A4-0B72-4AD3-B6D3-DD2EB10504F7}"/>
          </ac:spMkLst>
        </pc:spChg>
        <pc:spChg chg="mod">
          <ac:chgData name="Kumpulainen, Teemu (RC-FI DI PA)" userId="9e6db126-282e-46a7-b7b4-e4a6760ecd8a" providerId="ADAL" clId="{69F2DA64-4A59-4EB1-80C9-6C8B92288DA2}" dt="2023-04-04T10:38:05.471" v="1357" actId="790"/>
          <ac:spMkLst>
            <pc:docMk/>
            <pc:sldMk cId="2561298013" sldId="2147376948"/>
            <ac:spMk id="16" creationId="{42E11C1B-1FA0-4082-BC64-373E560895A5}"/>
          </ac:spMkLst>
        </pc:spChg>
        <pc:spChg chg="mod">
          <ac:chgData name="Kumpulainen, Teemu (RC-FI DI PA)" userId="9e6db126-282e-46a7-b7b4-e4a6760ecd8a" providerId="ADAL" clId="{69F2DA64-4A59-4EB1-80C9-6C8B92288DA2}" dt="2023-04-04T10:38:05.472" v="1358" actId="790"/>
          <ac:spMkLst>
            <pc:docMk/>
            <pc:sldMk cId="2561298013" sldId="2147376948"/>
            <ac:spMk id="17" creationId="{0F72580B-CC3A-46BE-AC9E-CB531929F5BE}"/>
          </ac:spMkLst>
        </pc:spChg>
        <pc:spChg chg="mod">
          <ac:chgData name="Kumpulainen, Teemu (RC-FI DI PA)" userId="9e6db126-282e-46a7-b7b4-e4a6760ecd8a" providerId="ADAL" clId="{69F2DA64-4A59-4EB1-80C9-6C8B92288DA2}" dt="2023-04-04T10:38:05.473" v="1359" actId="790"/>
          <ac:spMkLst>
            <pc:docMk/>
            <pc:sldMk cId="2561298013" sldId="2147376948"/>
            <ac:spMk id="18" creationId="{C480018C-B45D-434E-BB79-AC0244C9A748}"/>
          </ac:spMkLst>
        </pc:spChg>
        <pc:spChg chg="mod">
          <ac:chgData name="Kumpulainen, Teemu (RC-FI DI PA)" userId="9e6db126-282e-46a7-b7b4-e4a6760ecd8a" providerId="ADAL" clId="{69F2DA64-4A59-4EB1-80C9-6C8B92288DA2}" dt="2023-04-04T10:38:05.474" v="1360" actId="790"/>
          <ac:spMkLst>
            <pc:docMk/>
            <pc:sldMk cId="2561298013" sldId="2147376948"/>
            <ac:spMk id="19" creationId="{B39FFD10-A6B6-4CBD-81CD-E46305D8AAD8}"/>
          </ac:spMkLst>
        </pc:spChg>
        <pc:spChg chg="mod">
          <ac:chgData name="Kumpulainen, Teemu (RC-FI DI PA)" userId="9e6db126-282e-46a7-b7b4-e4a6760ecd8a" providerId="ADAL" clId="{69F2DA64-4A59-4EB1-80C9-6C8B92288DA2}" dt="2023-04-04T10:38:05.475" v="1361" actId="790"/>
          <ac:spMkLst>
            <pc:docMk/>
            <pc:sldMk cId="2561298013" sldId="2147376948"/>
            <ac:spMk id="20" creationId="{2A3CBC2D-A668-491F-839C-590E1506E037}"/>
          </ac:spMkLst>
        </pc:spChg>
        <pc:spChg chg="mod">
          <ac:chgData name="Kumpulainen, Teemu (RC-FI DI PA)" userId="9e6db126-282e-46a7-b7b4-e4a6760ecd8a" providerId="ADAL" clId="{69F2DA64-4A59-4EB1-80C9-6C8B92288DA2}" dt="2023-04-04T10:38:05.475" v="1362" actId="790"/>
          <ac:spMkLst>
            <pc:docMk/>
            <pc:sldMk cId="2561298013" sldId="2147376948"/>
            <ac:spMk id="37" creationId="{D98F2419-E1B9-45A5-8EF9-B770B62A7690}"/>
          </ac:spMkLst>
        </pc:spChg>
        <pc:spChg chg="mod">
          <ac:chgData name="Kumpulainen, Teemu (RC-FI DI PA)" userId="9e6db126-282e-46a7-b7b4-e4a6760ecd8a" providerId="ADAL" clId="{69F2DA64-4A59-4EB1-80C9-6C8B92288DA2}" dt="2023-04-04T10:38:05.468" v="1353" actId="790"/>
          <ac:spMkLst>
            <pc:docMk/>
            <pc:sldMk cId="2561298013" sldId="2147376948"/>
            <ac:spMk id="38" creationId="{97D71B40-401E-47FF-B817-AA6055BFABB4}"/>
          </ac:spMkLst>
        </pc:spChg>
        <pc:spChg chg="mod">
          <ac:chgData name="Kumpulainen, Teemu (RC-FI DI PA)" userId="9e6db126-282e-46a7-b7b4-e4a6760ecd8a" providerId="ADAL" clId="{69F2DA64-4A59-4EB1-80C9-6C8B92288DA2}" dt="2023-04-04T10:38:05.476" v="1364" actId="790"/>
          <ac:spMkLst>
            <pc:docMk/>
            <pc:sldMk cId="2561298013" sldId="2147376948"/>
            <ac:spMk id="39" creationId="{5B8FA149-B9AA-4A7A-8EBB-F9E0D799AF8F}"/>
          </ac:spMkLst>
        </pc:spChg>
        <pc:spChg chg="mod">
          <ac:chgData name="Kumpulainen, Teemu (RC-FI DI PA)" userId="9e6db126-282e-46a7-b7b4-e4a6760ecd8a" providerId="ADAL" clId="{69F2DA64-4A59-4EB1-80C9-6C8B92288DA2}" dt="2023-04-04T10:38:05.477" v="1365" actId="790"/>
          <ac:spMkLst>
            <pc:docMk/>
            <pc:sldMk cId="2561298013" sldId="2147376948"/>
            <ac:spMk id="40" creationId="{2E7DB6D9-EF88-4F1D-A371-CEBA0413AEF0}"/>
          </ac:spMkLst>
        </pc:spChg>
        <pc:spChg chg="mod">
          <ac:chgData name="Kumpulainen, Teemu (RC-FI DI PA)" userId="9e6db126-282e-46a7-b7b4-e4a6760ecd8a" providerId="ADAL" clId="{69F2DA64-4A59-4EB1-80C9-6C8B92288DA2}" dt="2023-04-04T10:38:05.476" v="1363" actId="790"/>
          <ac:spMkLst>
            <pc:docMk/>
            <pc:sldMk cId="2561298013" sldId="2147376948"/>
            <ac:spMk id="41" creationId="{D7EB4F8C-FAB2-45C8-A46D-B8A515DCBF28}"/>
          </ac:spMkLst>
        </pc:spChg>
        <pc:spChg chg="mod">
          <ac:chgData name="Kumpulainen, Teemu (RC-FI DI PA)" userId="9e6db126-282e-46a7-b7b4-e4a6760ecd8a" providerId="ADAL" clId="{69F2DA64-4A59-4EB1-80C9-6C8B92288DA2}" dt="2023-04-04T10:38:05.477" v="1366" actId="790"/>
          <ac:spMkLst>
            <pc:docMk/>
            <pc:sldMk cId="2561298013" sldId="2147376948"/>
            <ac:spMk id="43" creationId="{F5C6C8D8-CAE9-4B04-8DDC-0A4B730CD613}"/>
          </ac:spMkLst>
        </pc:spChg>
        <pc:spChg chg="mod">
          <ac:chgData name="Kumpulainen, Teemu (RC-FI DI PA)" userId="9e6db126-282e-46a7-b7b4-e4a6760ecd8a" providerId="ADAL" clId="{69F2DA64-4A59-4EB1-80C9-6C8B92288DA2}" dt="2023-04-04T10:38:05.478" v="1367" actId="790"/>
          <ac:spMkLst>
            <pc:docMk/>
            <pc:sldMk cId="2561298013" sldId="2147376948"/>
            <ac:spMk id="44" creationId="{5FB0465B-8A2F-4A0B-A9AB-15A0B2066F89}"/>
          </ac:spMkLst>
        </pc:spChg>
      </pc:sldChg>
      <pc:sldChg chg="modSp mod modNotes">
        <pc:chgData name="Kumpulainen, Teemu (RC-FI DI PA)" userId="9e6db126-282e-46a7-b7b4-e4a6760ecd8a" providerId="ADAL" clId="{69F2DA64-4A59-4EB1-80C9-6C8B92288DA2}" dt="2023-04-14T10:38:04.793" v="2618" actId="20577"/>
        <pc:sldMkLst>
          <pc:docMk/>
          <pc:sldMk cId="2283091453" sldId="2147376959"/>
        </pc:sldMkLst>
        <pc:spChg chg="mod">
          <ac:chgData name="Kumpulainen, Teemu (RC-FI DI PA)" userId="9e6db126-282e-46a7-b7b4-e4a6760ecd8a" providerId="ADAL" clId="{69F2DA64-4A59-4EB1-80C9-6C8B92288DA2}" dt="2023-04-14T10:38:04.793" v="2618" actId="20577"/>
          <ac:spMkLst>
            <pc:docMk/>
            <pc:sldMk cId="2283091453" sldId="2147376959"/>
            <ac:spMk id="2" creationId="{9809EBB5-468F-F8B9-96D3-E91EE3352EE4}"/>
          </ac:spMkLst>
        </pc:spChg>
        <pc:spChg chg="mod">
          <ac:chgData name="Kumpulainen, Teemu (RC-FI DI PA)" userId="9e6db126-282e-46a7-b7b4-e4a6760ecd8a" providerId="ADAL" clId="{69F2DA64-4A59-4EB1-80C9-6C8B92288DA2}" dt="2023-04-04T10:38:04.932" v="709" actId="790"/>
          <ac:spMkLst>
            <pc:docMk/>
            <pc:sldMk cId="2283091453" sldId="2147376959"/>
            <ac:spMk id="3" creationId="{D643785F-B936-2C25-D61D-5CD9129CEF47}"/>
          </ac:spMkLst>
        </pc:spChg>
        <pc:spChg chg="mod">
          <ac:chgData name="Kumpulainen, Teemu (RC-FI DI PA)" userId="9e6db126-282e-46a7-b7b4-e4a6760ecd8a" providerId="ADAL" clId="{69F2DA64-4A59-4EB1-80C9-6C8B92288DA2}" dt="2023-04-04T10:38:04.933" v="711" actId="790"/>
          <ac:spMkLst>
            <pc:docMk/>
            <pc:sldMk cId="2283091453" sldId="2147376959"/>
            <ac:spMk id="5" creationId="{F23939B8-874A-341D-16A7-1D41F743CC6C}"/>
          </ac:spMkLst>
        </pc:spChg>
      </pc:sldChg>
      <pc:sldChg chg="modSp del mod">
        <pc:chgData name="Kumpulainen, Teemu (RC-FI DI PA)" userId="9e6db126-282e-46a7-b7b4-e4a6760ecd8a" providerId="ADAL" clId="{69F2DA64-4A59-4EB1-80C9-6C8B92288DA2}" dt="2023-04-04T10:40:04.467" v="1565" actId="47"/>
        <pc:sldMkLst>
          <pc:docMk/>
          <pc:sldMk cId="3489728648" sldId="2147376960"/>
        </pc:sldMkLst>
        <pc:spChg chg="mod">
          <ac:chgData name="Kumpulainen, Teemu (RC-FI DI PA)" userId="9e6db126-282e-46a7-b7b4-e4a6760ecd8a" providerId="ADAL" clId="{69F2DA64-4A59-4EB1-80C9-6C8B92288DA2}" dt="2023-04-04T10:38:05.603" v="1514" actId="790"/>
          <ac:spMkLst>
            <pc:docMk/>
            <pc:sldMk cId="3489728648" sldId="2147376960"/>
            <ac:spMk id="2" creationId="{7E72F99A-B62C-4A6E-94FC-2A2400478220}"/>
          </ac:spMkLst>
        </pc:spChg>
        <pc:spChg chg="mod">
          <ac:chgData name="Kumpulainen, Teemu (RC-FI DI PA)" userId="9e6db126-282e-46a7-b7b4-e4a6760ecd8a" providerId="ADAL" clId="{69F2DA64-4A59-4EB1-80C9-6C8B92288DA2}" dt="2023-04-04T10:38:05.615" v="1519" actId="790"/>
          <ac:spMkLst>
            <pc:docMk/>
            <pc:sldMk cId="3489728648" sldId="2147376960"/>
            <ac:spMk id="4" creationId="{E958610B-4A61-47EB-92DE-E71069924DDF}"/>
          </ac:spMkLst>
        </pc:spChg>
        <pc:spChg chg="mod">
          <ac:chgData name="Kumpulainen, Teemu (RC-FI DI PA)" userId="9e6db126-282e-46a7-b7b4-e4a6760ecd8a" providerId="ADAL" clId="{69F2DA64-4A59-4EB1-80C9-6C8B92288DA2}" dt="2023-04-04T10:38:05.602" v="1512"/>
          <ac:spMkLst>
            <pc:docMk/>
            <pc:sldMk cId="3489728648" sldId="2147376960"/>
            <ac:spMk id="7" creationId="{E5C243E5-988F-4506-9602-771846173C46}"/>
          </ac:spMkLst>
        </pc:spChg>
        <pc:spChg chg="mod">
          <ac:chgData name="Kumpulainen, Teemu (RC-FI DI PA)" userId="9e6db126-282e-46a7-b7b4-e4a6760ecd8a" providerId="ADAL" clId="{69F2DA64-4A59-4EB1-80C9-6C8B92288DA2}" dt="2023-04-04T10:38:05.603" v="1513" actId="790"/>
          <ac:spMkLst>
            <pc:docMk/>
            <pc:sldMk cId="3489728648" sldId="2147376960"/>
            <ac:spMk id="10" creationId="{5DAD2872-31D7-40E4-A661-DDC6C1E30F10}"/>
          </ac:spMkLst>
        </pc:spChg>
        <pc:spChg chg="mod">
          <ac:chgData name="Kumpulainen, Teemu (RC-FI DI PA)" userId="9e6db126-282e-46a7-b7b4-e4a6760ecd8a" providerId="ADAL" clId="{69F2DA64-4A59-4EB1-80C9-6C8B92288DA2}" dt="2023-04-04T10:38:05.601" v="1511" actId="790"/>
          <ac:spMkLst>
            <pc:docMk/>
            <pc:sldMk cId="3489728648" sldId="2147376960"/>
            <ac:spMk id="12" creationId="{393D759C-CC8F-4FDC-B0CE-89D19C6DF121}"/>
          </ac:spMkLst>
        </pc:spChg>
        <pc:graphicFrameChg chg="modGraphic">
          <ac:chgData name="Kumpulainen, Teemu (RC-FI DI PA)" userId="9e6db126-282e-46a7-b7b4-e4a6760ecd8a" providerId="ADAL" clId="{69F2DA64-4A59-4EB1-80C9-6C8B92288DA2}" dt="2023-04-04T10:38:05.615" v="1518" actId="790"/>
          <ac:graphicFrameMkLst>
            <pc:docMk/>
            <pc:sldMk cId="3489728648" sldId="2147376960"/>
            <ac:graphicFrameMk id="15" creationId="{318846CC-6814-4EFE-A904-64A6BA2E6D78}"/>
          </ac:graphicFrameMkLst>
        </pc:graphicFrameChg>
      </pc:sldChg>
      <pc:sldChg chg="modSp del mod modNotes">
        <pc:chgData name="Kumpulainen, Teemu (RC-FI DI PA)" userId="9e6db126-282e-46a7-b7b4-e4a6760ecd8a" providerId="ADAL" clId="{69F2DA64-4A59-4EB1-80C9-6C8B92288DA2}" dt="2023-04-04T10:39:09.903" v="1557" actId="47"/>
        <pc:sldMkLst>
          <pc:docMk/>
          <pc:sldMk cId="687098660" sldId="2147376961"/>
        </pc:sldMkLst>
        <pc:spChg chg="mod">
          <ac:chgData name="Kumpulainen, Teemu (RC-FI DI PA)" userId="9e6db126-282e-46a7-b7b4-e4a6760ecd8a" providerId="ADAL" clId="{69F2DA64-4A59-4EB1-80C9-6C8B92288DA2}" dt="2023-04-04T10:38:05.355" v="1202" actId="790"/>
          <ac:spMkLst>
            <pc:docMk/>
            <pc:sldMk cId="687098660" sldId="2147376961"/>
            <ac:spMk id="2" creationId="{A76928CF-8D17-D273-299D-56B11FEA42B8}"/>
          </ac:spMkLst>
        </pc:spChg>
        <pc:spChg chg="mod">
          <ac:chgData name="Kumpulainen, Teemu (RC-FI DI PA)" userId="9e6db126-282e-46a7-b7b4-e4a6760ecd8a" providerId="ADAL" clId="{69F2DA64-4A59-4EB1-80C9-6C8B92288DA2}" dt="2023-04-04T10:38:05.268" v="1068"/>
          <ac:spMkLst>
            <pc:docMk/>
            <pc:sldMk cId="687098660" sldId="2147376961"/>
            <ac:spMk id="3" creationId="{DDC76E41-DD4C-4072-87E2-8EE96AEB0C06}"/>
          </ac:spMkLst>
        </pc:spChg>
        <pc:spChg chg="mod">
          <ac:chgData name="Kumpulainen, Teemu (RC-FI DI PA)" userId="9e6db126-282e-46a7-b7b4-e4a6760ecd8a" providerId="ADAL" clId="{69F2DA64-4A59-4EB1-80C9-6C8B92288DA2}" dt="2023-04-04T10:38:05.268" v="1069" actId="790"/>
          <ac:spMkLst>
            <pc:docMk/>
            <pc:sldMk cId="687098660" sldId="2147376961"/>
            <ac:spMk id="16" creationId="{F00B8D55-0BFD-416D-9FF0-65DEB0DD0C9F}"/>
          </ac:spMkLst>
        </pc:spChg>
        <pc:spChg chg="mod">
          <ac:chgData name="Kumpulainen, Teemu (RC-FI DI PA)" userId="9e6db126-282e-46a7-b7b4-e4a6760ecd8a" providerId="ADAL" clId="{69F2DA64-4A59-4EB1-80C9-6C8B92288DA2}" dt="2023-04-04T10:38:05.335" v="1169" actId="790"/>
          <ac:spMkLst>
            <pc:docMk/>
            <pc:sldMk cId="687098660" sldId="2147376961"/>
            <ac:spMk id="18" creationId="{58398554-9597-A158-5525-74CE6B7AA43A}"/>
          </ac:spMkLst>
        </pc:spChg>
        <pc:spChg chg="mod">
          <ac:chgData name="Kumpulainen, Teemu (RC-FI DI PA)" userId="9e6db126-282e-46a7-b7b4-e4a6760ecd8a" providerId="ADAL" clId="{69F2DA64-4A59-4EB1-80C9-6C8B92288DA2}" dt="2023-04-04T10:38:05.287" v="1095" actId="790"/>
          <ac:spMkLst>
            <pc:docMk/>
            <pc:sldMk cId="687098660" sldId="2147376961"/>
            <ac:spMk id="21" creationId="{792FEB2C-4799-CEED-BC69-F4B7CB9CE927}"/>
          </ac:spMkLst>
        </pc:spChg>
        <pc:spChg chg="mod">
          <ac:chgData name="Kumpulainen, Teemu (RC-FI DI PA)" userId="9e6db126-282e-46a7-b7b4-e4a6760ecd8a" providerId="ADAL" clId="{69F2DA64-4A59-4EB1-80C9-6C8B92288DA2}" dt="2023-04-04T10:38:05.346" v="1186" actId="790"/>
          <ac:spMkLst>
            <pc:docMk/>
            <pc:sldMk cId="687098660" sldId="2147376961"/>
            <ac:spMk id="22" creationId="{51D937FF-6036-5576-F97E-05A169859CE2}"/>
          </ac:spMkLst>
        </pc:spChg>
        <pc:spChg chg="mod">
          <ac:chgData name="Kumpulainen, Teemu (RC-FI DI PA)" userId="9e6db126-282e-46a7-b7b4-e4a6760ecd8a" providerId="ADAL" clId="{69F2DA64-4A59-4EB1-80C9-6C8B92288DA2}" dt="2023-04-04T10:38:05.276" v="1074" actId="790"/>
          <ac:spMkLst>
            <pc:docMk/>
            <pc:sldMk cId="687098660" sldId="2147376961"/>
            <ac:spMk id="38" creationId="{576D42F9-F49E-196A-68DB-F52B27664975}"/>
          </ac:spMkLst>
        </pc:spChg>
        <pc:spChg chg="mod">
          <ac:chgData name="Kumpulainen, Teemu (RC-FI DI PA)" userId="9e6db126-282e-46a7-b7b4-e4a6760ecd8a" providerId="ADAL" clId="{69F2DA64-4A59-4EB1-80C9-6C8B92288DA2}" dt="2023-04-04T10:38:05.297" v="1112" actId="790"/>
          <ac:spMkLst>
            <pc:docMk/>
            <pc:sldMk cId="687098660" sldId="2147376961"/>
            <ac:spMk id="39" creationId="{12F13CB5-F352-C4B5-90FC-1E5CE3D65F36}"/>
          </ac:spMkLst>
        </pc:spChg>
        <pc:spChg chg="mod">
          <ac:chgData name="Kumpulainen, Teemu (RC-FI DI PA)" userId="9e6db126-282e-46a7-b7b4-e4a6760ecd8a" providerId="ADAL" clId="{69F2DA64-4A59-4EB1-80C9-6C8B92288DA2}" dt="2023-04-04T10:38:05.326" v="1158" actId="790"/>
          <ac:spMkLst>
            <pc:docMk/>
            <pc:sldMk cId="687098660" sldId="2147376961"/>
            <ac:spMk id="50" creationId="{79F65C1E-3F1C-5CCB-739C-40B18B4B3E9E}"/>
          </ac:spMkLst>
        </pc:spChg>
        <pc:spChg chg="mod">
          <ac:chgData name="Kumpulainen, Teemu (RC-FI DI PA)" userId="9e6db126-282e-46a7-b7b4-e4a6760ecd8a" providerId="ADAL" clId="{69F2DA64-4A59-4EB1-80C9-6C8B92288DA2}" dt="2023-04-04T10:38:05.327" v="1159" actId="790"/>
          <ac:spMkLst>
            <pc:docMk/>
            <pc:sldMk cId="687098660" sldId="2147376961"/>
            <ac:spMk id="51" creationId="{7D3D5011-838C-9D02-7639-2A3B1ADF31D3}"/>
          </ac:spMkLst>
        </pc:spChg>
        <pc:spChg chg="mod">
          <ac:chgData name="Kumpulainen, Teemu (RC-FI DI PA)" userId="9e6db126-282e-46a7-b7b4-e4a6760ecd8a" providerId="ADAL" clId="{69F2DA64-4A59-4EB1-80C9-6C8B92288DA2}" dt="2023-04-04T10:38:05.328" v="1160" actId="790"/>
          <ac:spMkLst>
            <pc:docMk/>
            <pc:sldMk cId="687098660" sldId="2147376961"/>
            <ac:spMk id="53" creationId="{08CB08E1-3F1E-3C07-F558-8AE8E17E6C7E}"/>
          </ac:spMkLst>
        </pc:spChg>
        <pc:spChg chg="mod">
          <ac:chgData name="Kumpulainen, Teemu (RC-FI DI PA)" userId="9e6db126-282e-46a7-b7b4-e4a6760ecd8a" providerId="ADAL" clId="{69F2DA64-4A59-4EB1-80C9-6C8B92288DA2}" dt="2023-04-04T10:38:05.328" v="1161" actId="790"/>
          <ac:spMkLst>
            <pc:docMk/>
            <pc:sldMk cId="687098660" sldId="2147376961"/>
            <ac:spMk id="54" creationId="{03FD4D9A-F536-4985-3BFE-56D2B6217FE0}"/>
          </ac:spMkLst>
        </pc:spChg>
        <pc:spChg chg="mod">
          <ac:chgData name="Kumpulainen, Teemu (RC-FI DI PA)" userId="9e6db126-282e-46a7-b7b4-e4a6760ecd8a" providerId="ADAL" clId="{69F2DA64-4A59-4EB1-80C9-6C8B92288DA2}" dt="2023-04-04T10:38:05.329" v="1162" actId="790"/>
          <ac:spMkLst>
            <pc:docMk/>
            <pc:sldMk cId="687098660" sldId="2147376961"/>
            <ac:spMk id="55" creationId="{B618A1B2-F06C-21AF-BEA1-CFCB04DFC754}"/>
          </ac:spMkLst>
        </pc:spChg>
        <pc:spChg chg="mod">
          <ac:chgData name="Kumpulainen, Teemu (RC-FI DI PA)" userId="9e6db126-282e-46a7-b7b4-e4a6760ecd8a" providerId="ADAL" clId="{69F2DA64-4A59-4EB1-80C9-6C8B92288DA2}" dt="2023-04-04T10:38:05.330" v="1163" actId="790"/>
          <ac:spMkLst>
            <pc:docMk/>
            <pc:sldMk cId="687098660" sldId="2147376961"/>
            <ac:spMk id="56" creationId="{7233088A-3044-7492-DD75-17320161138D}"/>
          </ac:spMkLst>
        </pc:spChg>
        <pc:spChg chg="mod">
          <ac:chgData name="Kumpulainen, Teemu (RC-FI DI PA)" userId="9e6db126-282e-46a7-b7b4-e4a6760ecd8a" providerId="ADAL" clId="{69F2DA64-4A59-4EB1-80C9-6C8B92288DA2}" dt="2023-04-04T10:38:05.331" v="1164" actId="790"/>
          <ac:spMkLst>
            <pc:docMk/>
            <pc:sldMk cId="687098660" sldId="2147376961"/>
            <ac:spMk id="57" creationId="{060E3861-215F-890E-BE86-E03360F6F6C3}"/>
          </ac:spMkLst>
        </pc:spChg>
        <pc:spChg chg="mod">
          <ac:chgData name="Kumpulainen, Teemu (RC-FI DI PA)" userId="9e6db126-282e-46a7-b7b4-e4a6760ecd8a" providerId="ADAL" clId="{69F2DA64-4A59-4EB1-80C9-6C8B92288DA2}" dt="2023-04-04T10:38:05.320" v="1149" actId="790"/>
          <ac:spMkLst>
            <pc:docMk/>
            <pc:sldMk cId="687098660" sldId="2147376961"/>
            <ac:spMk id="59" creationId="{CBB5AAC4-8644-3FB5-64EE-3F571AE33633}"/>
          </ac:spMkLst>
        </pc:spChg>
        <pc:spChg chg="mod">
          <ac:chgData name="Kumpulainen, Teemu (RC-FI DI PA)" userId="9e6db126-282e-46a7-b7b4-e4a6760ecd8a" providerId="ADAL" clId="{69F2DA64-4A59-4EB1-80C9-6C8B92288DA2}" dt="2023-04-04T10:38:05.324" v="1155" actId="790"/>
          <ac:spMkLst>
            <pc:docMk/>
            <pc:sldMk cId="687098660" sldId="2147376961"/>
            <ac:spMk id="63" creationId="{EDC66FEF-1726-57BA-353D-D2DE527E7766}"/>
          </ac:spMkLst>
        </pc:spChg>
        <pc:spChg chg="mod">
          <ac:chgData name="Kumpulainen, Teemu (RC-FI DI PA)" userId="9e6db126-282e-46a7-b7b4-e4a6760ecd8a" providerId="ADAL" clId="{69F2DA64-4A59-4EB1-80C9-6C8B92288DA2}" dt="2023-04-04T10:38:05.325" v="1156" actId="790"/>
          <ac:spMkLst>
            <pc:docMk/>
            <pc:sldMk cId="687098660" sldId="2147376961"/>
            <ac:spMk id="64" creationId="{50556E4A-A466-F6C1-3753-8C469D26580E}"/>
          </ac:spMkLst>
        </pc:spChg>
        <pc:spChg chg="mod">
          <ac:chgData name="Kumpulainen, Teemu (RC-FI DI PA)" userId="9e6db126-282e-46a7-b7b4-e4a6760ecd8a" providerId="ADAL" clId="{69F2DA64-4A59-4EB1-80C9-6C8B92288DA2}" dt="2023-04-04T10:38:05.321" v="1150" actId="790"/>
          <ac:spMkLst>
            <pc:docMk/>
            <pc:sldMk cId="687098660" sldId="2147376961"/>
            <ac:spMk id="65" creationId="{50D5BF64-4C6E-709B-FB4F-C4D18B4D00AF}"/>
          </ac:spMkLst>
        </pc:spChg>
        <pc:spChg chg="mod">
          <ac:chgData name="Kumpulainen, Teemu (RC-FI DI PA)" userId="9e6db126-282e-46a7-b7b4-e4a6760ecd8a" providerId="ADAL" clId="{69F2DA64-4A59-4EB1-80C9-6C8B92288DA2}" dt="2023-04-04T10:38:05.321" v="1151" actId="790"/>
          <ac:spMkLst>
            <pc:docMk/>
            <pc:sldMk cId="687098660" sldId="2147376961"/>
            <ac:spMk id="66" creationId="{47D8B438-6916-A4FE-B0E5-39244AD02007}"/>
          </ac:spMkLst>
        </pc:spChg>
        <pc:spChg chg="mod">
          <ac:chgData name="Kumpulainen, Teemu (RC-FI DI PA)" userId="9e6db126-282e-46a7-b7b4-e4a6760ecd8a" providerId="ADAL" clId="{69F2DA64-4A59-4EB1-80C9-6C8B92288DA2}" dt="2023-04-04T10:38:05.322" v="1152" actId="790"/>
          <ac:spMkLst>
            <pc:docMk/>
            <pc:sldMk cId="687098660" sldId="2147376961"/>
            <ac:spMk id="67" creationId="{EE6BF2DA-2439-58F0-372A-6EE6F9E3C56C}"/>
          </ac:spMkLst>
        </pc:spChg>
        <pc:spChg chg="mod">
          <ac:chgData name="Kumpulainen, Teemu (RC-FI DI PA)" userId="9e6db126-282e-46a7-b7b4-e4a6760ecd8a" providerId="ADAL" clId="{69F2DA64-4A59-4EB1-80C9-6C8B92288DA2}" dt="2023-04-04T10:38:05.323" v="1153" actId="790"/>
          <ac:spMkLst>
            <pc:docMk/>
            <pc:sldMk cId="687098660" sldId="2147376961"/>
            <ac:spMk id="68" creationId="{AE088ABD-560C-5EF6-F93B-9132E01010F5}"/>
          </ac:spMkLst>
        </pc:spChg>
        <pc:spChg chg="mod">
          <ac:chgData name="Kumpulainen, Teemu (RC-FI DI PA)" userId="9e6db126-282e-46a7-b7b4-e4a6760ecd8a" providerId="ADAL" clId="{69F2DA64-4A59-4EB1-80C9-6C8B92288DA2}" dt="2023-04-04T10:38:05.323" v="1154" actId="790"/>
          <ac:spMkLst>
            <pc:docMk/>
            <pc:sldMk cId="687098660" sldId="2147376961"/>
            <ac:spMk id="69" creationId="{E9BA0924-60BB-60D6-64C9-B44A5A8DCA60}"/>
          </ac:spMkLst>
        </pc:spChg>
        <pc:spChg chg="mod">
          <ac:chgData name="Kumpulainen, Teemu (RC-FI DI PA)" userId="9e6db126-282e-46a7-b7b4-e4a6760ecd8a" providerId="ADAL" clId="{69F2DA64-4A59-4EB1-80C9-6C8B92288DA2}" dt="2023-04-04T10:38:05.345" v="1184" actId="790"/>
          <ac:spMkLst>
            <pc:docMk/>
            <pc:sldMk cId="687098660" sldId="2147376961"/>
            <ac:spMk id="75" creationId="{EFE786FF-28DE-1868-3DC8-D1C9C84B7E51}"/>
          </ac:spMkLst>
        </pc:spChg>
        <pc:spChg chg="mod">
          <ac:chgData name="Kumpulainen, Teemu (RC-FI DI PA)" userId="9e6db126-282e-46a7-b7b4-e4a6760ecd8a" providerId="ADAL" clId="{69F2DA64-4A59-4EB1-80C9-6C8B92288DA2}" dt="2023-04-04T10:38:05.346" v="1185" actId="790"/>
          <ac:spMkLst>
            <pc:docMk/>
            <pc:sldMk cId="687098660" sldId="2147376961"/>
            <ac:spMk id="76" creationId="{950A1D7D-6A1A-0A8F-529D-A73C509E0D68}"/>
          </ac:spMkLst>
        </pc:spChg>
        <pc:spChg chg="mod">
          <ac:chgData name="Kumpulainen, Teemu (RC-FI DI PA)" userId="9e6db126-282e-46a7-b7b4-e4a6760ecd8a" providerId="ADAL" clId="{69F2DA64-4A59-4EB1-80C9-6C8B92288DA2}" dt="2023-04-04T10:38:05.342" v="1179" actId="790"/>
          <ac:spMkLst>
            <pc:docMk/>
            <pc:sldMk cId="687098660" sldId="2147376961"/>
            <ac:spMk id="77" creationId="{0DB40533-E5EB-A742-F204-1CA9B9758AC2}"/>
          </ac:spMkLst>
        </pc:spChg>
        <pc:spChg chg="mod">
          <ac:chgData name="Kumpulainen, Teemu (RC-FI DI PA)" userId="9e6db126-282e-46a7-b7b4-e4a6760ecd8a" providerId="ADAL" clId="{69F2DA64-4A59-4EB1-80C9-6C8B92288DA2}" dt="2023-04-04T10:38:05.343" v="1180" actId="790"/>
          <ac:spMkLst>
            <pc:docMk/>
            <pc:sldMk cId="687098660" sldId="2147376961"/>
            <ac:spMk id="78" creationId="{2175E087-7E51-FD28-18CE-8E5421FFE2F5}"/>
          </ac:spMkLst>
        </pc:spChg>
        <pc:spChg chg="mod">
          <ac:chgData name="Kumpulainen, Teemu (RC-FI DI PA)" userId="9e6db126-282e-46a7-b7b4-e4a6760ecd8a" providerId="ADAL" clId="{69F2DA64-4A59-4EB1-80C9-6C8B92288DA2}" dt="2023-04-04T10:38:05.343" v="1181" actId="790"/>
          <ac:spMkLst>
            <pc:docMk/>
            <pc:sldMk cId="687098660" sldId="2147376961"/>
            <ac:spMk id="79" creationId="{8F341F7D-FCEF-C086-0561-105164B9FB67}"/>
          </ac:spMkLst>
        </pc:spChg>
        <pc:spChg chg="mod">
          <ac:chgData name="Kumpulainen, Teemu (RC-FI DI PA)" userId="9e6db126-282e-46a7-b7b4-e4a6760ecd8a" providerId="ADAL" clId="{69F2DA64-4A59-4EB1-80C9-6C8B92288DA2}" dt="2023-04-04T10:38:05.344" v="1182" actId="790"/>
          <ac:spMkLst>
            <pc:docMk/>
            <pc:sldMk cId="687098660" sldId="2147376961"/>
            <ac:spMk id="80" creationId="{B825B9CA-F202-B4ED-A1AB-C9AAA4B338D3}"/>
          </ac:spMkLst>
        </pc:spChg>
        <pc:spChg chg="mod">
          <ac:chgData name="Kumpulainen, Teemu (RC-FI DI PA)" userId="9e6db126-282e-46a7-b7b4-e4a6760ecd8a" providerId="ADAL" clId="{69F2DA64-4A59-4EB1-80C9-6C8B92288DA2}" dt="2023-04-04T10:38:05.344" v="1183" actId="790"/>
          <ac:spMkLst>
            <pc:docMk/>
            <pc:sldMk cId="687098660" sldId="2147376961"/>
            <ac:spMk id="81" creationId="{DEF22950-5A7B-A9D3-5057-74B859F6DBC0}"/>
          </ac:spMkLst>
        </pc:spChg>
        <pc:spChg chg="mod">
          <ac:chgData name="Kumpulainen, Teemu (RC-FI DI PA)" userId="9e6db126-282e-46a7-b7b4-e4a6760ecd8a" providerId="ADAL" clId="{69F2DA64-4A59-4EB1-80C9-6C8B92288DA2}" dt="2023-04-04T10:38:05.336" v="1170" actId="790"/>
          <ac:spMkLst>
            <pc:docMk/>
            <pc:sldMk cId="687098660" sldId="2147376961"/>
            <ac:spMk id="82" creationId="{EAA2471A-A6D2-4415-4D6A-77E41A44349A}"/>
          </ac:spMkLst>
        </pc:spChg>
        <pc:spChg chg="mod">
          <ac:chgData name="Kumpulainen, Teemu (RC-FI DI PA)" userId="9e6db126-282e-46a7-b7b4-e4a6760ecd8a" providerId="ADAL" clId="{69F2DA64-4A59-4EB1-80C9-6C8B92288DA2}" dt="2023-04-04T10:38:05.337" v="1171" actId="790"/>
          <ac:spMkLst>
            <pc:docMk/>
            <pc:sldMk cId="687098660" sldId="2147376961"/>
            <ac:spMk id="83" creationId="{2CE2DB4D-ED9A-7F30-FA22-E72B243CDEB2}"/>
          </ac:spMkLst>
        </pc:spChg>
        <pc:spChg chg="mod">
          <ac:chgData name="Kumpulainen, Teemu (RC-FI DI PA)" userId="9e6db126-282e-46a7-b7b4-e4a6760ecd8a" providerId="ADAL" clId="{69F2DA64-4A59-4EB1-80C9-6C8B92288DA2}" dt="2023-04-04T10:38:05.337" v="1172" actId="790"/>
          <ac:spMkLst>
            <pc:docMk/>
            <pc:sldMk cId="687098660" sldId="2147376961"/>
            <ac:spMk id="84" creationId="{2F8BFF51-50E2-7AC7-56E3-2E563A4874A6}"/>
          </ac:spMkLst>
        </pc:spChg>
        <pc:spChg chg="mod">
          <ac:chgData name="Kumpulainen, Teemu (RC-FI DI PA)" userId="9e6db126-282e-46a7-b7b4-e4a6760ecd8a" providerId="ADAL" clId="{69F2DA64-4A59-4EB1-80C9-6C8B92288DA2}" dt="2023-04-04T10:38:05.338" v="1173" actId="790"/>
          <ac:spMkLst>
            <pc:docMk/>
            <pc:sldMk cId="687098660" sldId="2147376961"/>
            <ac:spMk id="85" creationId="{562442DF-832A-BD3D-2238-B52C18384E42}"/>
          </ac:spMkLst>
        </pc:spChg>
        <pc:spChg chg="mod">
          <ac:chgData name="Kumpulainen, Teemu (RC-FI DI PA)" userId="9e6db126-282e-46a7-b7b4-e4a6760ecd8a" providerId="ADAL" clId="{69F2DA64-4A59-4EB1-80C9-6C8B92288DA2}" dt="2023-04-04T10:38:05.339" v="1174" actId="790"/>
          <ac:spMkLst>
            <pc:docMk/>
            <pc:sldMk cId="687098660" sldId="2147376961"/>
            <ac:spMk id="86" creationId="{94F00701-A461-9B0F-36E9-22C3EB473453}"/>
          </ac:spMkLst>
        </pc:spChg>
        <pc:spChg chg="mod">
          <ac:chgData name="Kumpulainen, Teemu (RC-FI DI PA)" userId="9e6db126-282e-46a7-b7b4-e4a6760ecd8a" providerId="ADAL" clId="{69F2DA64-4A59-4EB1-80C9-6C8B92288DA2}" dt="2023-04-04T10:38:05.340" v="1175" actId="790"/>
          <ac:spMkLst>
            <pc:docMk/>
            <pc:sldMk cId="687098660" sldId="2147376961"/>
            <ac:spMk id="87" creationId="{A934DAFA-CAAA-1CA1-72B8-334167DAFE3F}"/>
          </ac:spMkLst>
        </pc:spChg>
        <pc:spChg chg="mod">
          <ac:chgData name="Kumpulainen, Teemu (RC-FI DI PA)" userId="9e6db126-282e-46a7-b7b4-e4a6760ecd8a" providerId="ADAL" clId="{69F2DA64-4A59-4EB1-80C9-6C8B92288DA2}" dt="2023-04-04T10:38:05.340" v="1176" actId="790"/>
          <ac:spMkLst>
            <pc:docMk/>
            <pc:sldMk cId="687098660" sldId="2147376961"/>
            <ac:spMk id="88" creationId="{A113BE21-CA56-72C1-2DEA-A9C1706E9036}"/>
          </ac:spMkLst>
        </pc:spChg>
        <pc:spChg chg="mod">
          <ac:chgData name="Kumpulainen, Teemu (RC-FI DI PA)" userId="9e6db126-282e-46a7-b7b4-e4a6760ecd8a" providerId="ADAL" clId="{69F2DA64-4A59-4EB1-80C9-6C8B92288DA2}" dt="2023-04-04T10:38:05.341" v="1177" actId="790"/>
          <ac:spMkLst>
            <pc:docMk/>
            <pc:sldMk cId="687098660" sldId="2147376961"/>
            <ac:spMk id="89" creationId="{F8D7A215-090D-7316-4C85-A4DD4280FE48}"/>
          </ac:spMkLst>
        </pc:spChg>
        <pc:spChg chg="mod">
          <ac:chgData name="Kumpulainen, Teemu (RC-FI DI PA)" userId="9e6db126-282e-46a7-b7b4-e4a6760ecd8a" providerId="ADAL" clId="{69F2DA64-4A59-4EB1-80C9-6C8B92288DA2}" dt="2023-04-04T10:38:05.342" v="1178" actId="790"/>
          <ac:spMkLst>
            <pc:docMk/>
            <pc:sldMk cId="687098660" sldId="2147376961"/>
            <ac:spMk id="90" creationId="{38572933-AECB-F52B-AABE-333453BCD097}"/>
          </ac:spMkLst>
        </pc:spChg>
        <pc:spChg chg="mod">
          <ac:chgData name="Kumpulainen, Teemu (RC-FI DI PA)" userId="9e6db126-282e-46a7-b7b4-e4a6760ecd8a" providerId="ADAL" clId="{69F2DA64-4A59-4EB1-80C9-6C8B92288DA2}" dt="2023-04-04T10:38:05.318" v="1147" actId="790"/>
          <ac:spMkLst>
            <pc:docMk/>
            <pc:sldMk cId="687098660" sldId="2147376961"/>
            <ac:spMk id="96" creationId="{21E3A905-0F35-6A9F-27AE-8FAD78118B7F}"/>
          </ac:spMkLst>
        </pc:spChg>
        <pc:spChg chg="mod">
          <ac:chgData name="Kumpulainen, Teemu (RC-FI DI PA)" userId="9e6db126-282e-46a7-b7b4-e4a6760ecd8a" providerId="ADAL" clId="{69F2DA64-4A59-4EB1-80C9-6C8B92288DA2}" dt="2023-04-04T10:38:05.319" v="1148" actId="790"/>
          <ac:spMkLst>
            <pc:docMk/>
            <pc:sldMk cId="687098660" sldId="2147376961"/>
            <ac:spMk id="97" creationId="{D386DB7B-B3A7-76F7-171D-34513E959518}"/>
          </ac:spMkLst>
        </pc:spChg>
        <pc:spChg chg="mod">
          <ac:chgData name="Kumpulainen, Teemu (RC-FI DI PA)" userId="9e6db126-282e-46a7-b7b4-e4a6760ecd8a" providerId="ADAL" clId="{69F2DA64-4A59-4EB1-80C9-6C8B92288DA2}" dt="2023-04-04T10:38:05.315" v="1142" actId="790"/>
          <ac:spMkLst>
            <pc:docMk/>
            <pc:sldMk cId="687098660" sldId="2147376961"/>
            <ac:spMk id="98" creationId="{BFA20B11-4997-4F1A-93FB-B6AE89C227C7}"/>
          </ac:spMkLst>
        </pc:spChg>
        <pc:spChg chg="mod">
          <ac:chgData name="Kumpulainen, Teemu (RC-FI DI PA)" userId="9e6db126-282e-46a7-b7b4-e4a6760ecd8a" providerId="ADAL" clId="{69F2DA64-4A59-4EB1-80C9-6C8B92288DA2}" dt="2023-04-04T10:38:05.315" v="1143" actId="790"/>
          <ac:spMkLst>
            <pc:docMk/>
            <pc:sldMk cId="687098660" sldId="2147376961"/>
            <ac:spMk id="99" creationId="{532E8705-BF78-A343-64CF-41EA5AF581C8}"/>
          </ac:spMkLst>
        </pc:spChg>
        <pc:spChg chg="mod">
          <ac:chgData name="Kumpulainen, Teemu (RC-FI DI PA)" userId="9e6db126-282e-46a7-b7b4-e4a6760ecd8a" providerId="ADAL" clId="{69F2DA64-4A59-4EB1-80C9-6C8B92288DA2}" dt="2023-04-04T10:38:05.316" v="1144" actId="790"/>
          <ac:spMkLst>
            <pc:docMk/>
            <pc:sldMk cId="687098660" sldId="2147376961"/>
            <ac:spMk id="100" creationId="{B17F6EA2-D8B5-D5EE-B88E-1F63F01DA35A}"/>
          </ac:spMkLst>
        </pc:spChg>
        <pc:spChg chg="mod">
          <ac:chgData name="Kumpulainen, Teemu (RC-FI DI PA)" userId="9e6db126-282e-46a7-b7b4-e4a6760ecd8a" providerId="ADAL" clId="{69F2DA64-4A59-4EB1-80C9-6C8B92288DA2}" dt="2023-04-04T10:38:05.317" v="1145" actId="790"/>
          <ac:spMkLst>
            <pc:docMk/>
            <pc:sldMk cId="687098660" sldId="2147376961"/>
            <ac:spMk id="101" creationId="{723E8D75-3F61-1326-99D8-8055A23ACB01}"/>
          </ac:spMkLst>
        </pc:spChg>
        <pc:spChg chg="mod">
          <ac:chgData name="Kumpulainen, Teemu (RC-FI DI PA)" userId="9e6db126-282e-46a7-b7b4-e4a6760ecd8a" providerId="ADAL" clId="{69F2DA64-4A59-4EB1-80C9-6C8B92288DA2}" dt="2023-04-04T10:38:05.318" v="1146" actId="790"/>
          <ac:spMkLst>
            <pc:docMk/>
            <pc:sldMk cId="687098660" sldId="2147376961"/>
            <ac:spMk id="102" creationId="{55A67CC7-1D1D-2D56-2F3D-592502C84C1E}"/>
          </ac:spMkLst>
        </pc:spChg>
        <pc:spChg chg="mod">
          <ac:chgData name="Kumpulainen, Teemu (RC-FI DI PA)" userId="9e6db126-282e-46a7-b7b4-e4a6760ecd8a" providerId="ADAL" clId="{69F2DA64-4A59-4EB1-80C9-6C8B92288DA2}" dt="2023-04-04T10:38:05.306" v="1130" actId="790"/>
          <ac:spMkLst>
            <pc:docMk/>
            <pc:sldMk cId="687098660" sldId="2147376961"/>
            <ac:spMk id="103" creationId="{41EC0B67-D2E4-D54F-526B-87BE207EA7C6}"/>
          </ac:spMkLst>
        </pc:spChg>
        <pc:spChg chg="mod">
          <ac:chgData name="Kumpulainen, Teemu (RC-FI DI PA)" userId="9e6db126-282e-46a7-b7b4-e4a6760ecd8a" providerId="ADAL" clId="{69F2DA64-4A59-4EB1-80C9-6C8B92288DA2}" dt="2023-04-04T10:38:05.307" v="1131" actId="790"/>
          <ac:spMkLst>
            <pc:docMk/>
            <pc:sldMk cId="687098660" sldId="2147376961"/>
            <ac:spMk id="104" creationId="{D31A748B-8D6C-46D5-FC25-EA51A4039393}"/>
          </ac:spMkLst>
        </pc:spChg>
        <pc:spChg chg="mod">
          <ac:chgData name="Kumpulainen, Teemu (RC-FI DI PA)" userId="9e6db126-282e-46a7-b7b4-e4a6760ecd8a" providerId="ADAL" clId="{69F2DA64-4A59-4EB1-80C9-6C8B92288DA2}" dt="2023-04-04T10:38:05.308" v="1132" actId="790"/>
          <ac:spMkLst>
            <pc:docMk/>
            <pc:sldMk cId="687098660" sldId="2147376961"/>
            <ac:spMk id="105" creationId="{5BE9B022-B2AE-003F-C60E-84F57359A4CE}"/>
          </ac:spMkLst>
        </pc:spChg>
        <pc:spChg chg="mod">
          <ac:chgData name="Kumpulainen, Teemu (RC-FI DI PA)" userId="9e6db126-282e-46a7-b7b4-e4a6760ecd8a" providerId="ADAL" clId="{69F2DA64-4A59-4EB1-80C9-6C8B92288DA2}" dt="2023-04-04T10:38:05.308" v="1133" actId="790"/>
          <ac:spMkLst>
            <pc:docMk/>
            <pc:sldMk cId="687098660" sldId="2147376961"/>
            <ac:spMk id="106" creationId="{CF94D635-2A6E-73BF-D0EE-8325FD31E90E}"/>
          </ac:spMkLst>
        </pc:spChg>
        <pc:spChg chg="mod">
          <ac:chgData name="Kumpulainen, Teemu (RC-FI DI PA)" userId="9e6db126-282e-46a7-b7b4-e4a6760ecd8a" providerId="ADAL" clId="{69F2DA64-4A59-4EB1-80C9-6C8B92288DA2}" dt="2023-04-04T10:38:05.309" v="1134" actId="790"/>
          <ac:spMkLst>
            <pc:docMk/>
            <pc:sldMk cId="687098660" sldId="2147376961"/>
            <ac:spMk id="107" creationId="{94A66A30-0924-3F71-C2D7-013B7200E69D}"/>
          </ac:spMkLst>
        </pc:spChg>
        <pc:spChg chg="mod">
          <ac:chgData name="Kumpulainen, Teemu (RC-FI DI PA)" userId="9e6db126-282e-46a7-b7b4-e4a6760ecd8a" providerId="ADAL" clId="{69F2DA64-4A59-4EB1-80C9-6C8B92288DA2}" dt="2023-04-04T10:38:05.309" v="1135" actId="790"/>
          <ac:spMkLst>
            <pc:docMk/>
            <pc:sldMk cId="687098660" sldId="2147376961"/>
            <ac:spMk id="108" creationId="{22169CA9-1D07-966C-5820-4E132B49A5EA}"/>
          </ac:spMkLst>
        </pc:spChg>
        <pc:spChg chg="mod">
          <ac:chgData name="Kumpulainen, Teemu (RC-FI DI PA)" userId="9e6db126-282e-46a7-b7b4-e4a6760ecd8a" providerId="ADAL" clId="{69F2DA64-4A59-4EB1-80C9-6C8B92288DA2}" dt="2023-04-04T10:38:05.310" v="1136" actId="790"/>
          <ac:spMkLst>
            <pc:docMk/>
            <pc:sldMk cId="687098660" sldId="2147376961"/>
            <ac:spMk id="109" creationId="{7766D377-CD60-AB97-97C6-59CA2BB3BF09}"/>
          </ac:spMkLst>
        </pc:spChg>
        <pc:spChg chg="mod">
          <ac:chgData name="Kumpulainen, Teemu (RC-FI DI PA)" userId="9e6db126-282e-46a7-b7b4-e4a6760ecd8a" providerId="ADAL" clId="{69F2DA64-4A59-4EB1-80C9-6C8B92288DA2}" dt="2023-04-04T10:38:05.311" v="1137" actId="790"/>
          <ac:spMkLst>
            <pc:docMk/>
            <pc:sldMk cId="687098660" sldId="2147376961"/>
            <ac:spMk id="110" creationId="{4BF97E16-B430-5435-F796-4B7C11202D4D}"/>
          </ac:spMkLst>
        </pc:spChg>
        <pc:spChg chg="mod">
          <ac:chgData name="Kumpulainen, Teemu (RC-FI DI PA)" userId="9e6db126-282e-46a7-b7b4-e4a6760ecd8a" providerId="ADAL" clId="{69F2DA64-4A59-4EB1-80C9-6C8B92288DA2}" dt="2023-04-04T10:38:05.312" v="1138" actId="790"/>
          <ac:spMkLst>
            <pc:docMk/>
            <pc:sldMk cId="687098660" sldId="2147376961"/>
            <ac:spMk id="111" creationId="{1992A098-DBA5-DAFC-240F-EF8136E9EB45}"/>
          </ac:spMkLst>
        </pc:spChg>
        <pc:spChg chg="mod">
          <ac:chgData name="Kumpulainen, Teemu (RC-FI DI PA)" userId="9e6db126-282e-46a7-b7b4-e4a6760ecd8a" providerId="ADAL" clId="{69F2DA64-4A59-4EB1-80C9-6C8B92288DA2}" dt="2023-04-04T10:38:05.312" v="1139" actId="790"/>
          <ac:spMkLst>
            <pc:docMk/>
            <pc:sldMk cId="687098660" sldId="2147376961"/>
            <ac:spMk id="112" creationId="{ABB873B0-B38C-B03D-823B-328385B6F9E5}"/>
          </ac:spMkLst>
        </pc:spChg>
        <pc:spChg chg="mod">
          <ac:chgData name="Kumpulainen, Teemu (RC-FI DI PA)" userId="9e6db126-282e-46a7-b7b4-e4a6760ecd8a" providerId="ADAL" clId="{69F2DA64-4A59-4EB1-80C9-6C8B92288DA2}" dt="2023-04-04T10:38:05.313" v="1140" actId="790"/>
          <ac:spMkLst>
            <pc:docMk/>
            <pc:sldMk cId="687098660" sldId="2147376961"/>
            <ac:spMk id="113" creationId="{5E192EE0-4344-A237-B38C-B3B712DFF85F}"/>
          </ac:spMkLst>
        </pc:spChg>
        <pc:spChg chg="mod">
          <ac:chgData name="Kumpulainen, Teemu (RC-FI DI PA)" userId="9e6db126-282e-46a7-b7b4-e4a6760ecd8a" providerId="ADAL" clId="{69F2DA64-4A59-4EB1-80C9-6C8B92288DA2}" dt="2023-04-04T10:38:05.314" v="1141" actId="790"/>
          <ac:spMkLst>
            <pc:docMk/>
            <pc:sldMk cId="687098660" sldId="2147376961"/>
            <ac:spMk id="114" creationId="{32A4A87B-05BB-35E4-0CD3-7C129C0368AF}"/>
          </ac:spMkLst>
        </pc:spChg>
        <pc:spChg chg="mod">
          <ac:chgData name="Kumpulainen, Teemu (RC-FI DI PA)" userId="9e6db126-282e-46a7-b7b4-e4a6760ecd8a" providerId="ADAL" clId="{69F2DA64-4A59-4EB1-80C9-6C8B92288DA2}" dt="2023-04-04T10:38:05.305" v="1128" actId="790"/>
          <ac:spMkLst>
            <pc:docMk/>
            <pc:sldMk cId="687098660" sldId="2147376961"/>
            <ac:spMk id="120" creationId="{7C43DC37-C244-2A30-7E16-A3F5EBDB1188}"/>
          </ac:spMkLst>
        </pc:spChg>
        <pc:spChg chg="mod">
          <ac:chgData name="Kumpulainen, Teemu (RC-FI DI PA)" userId="9e6db126-282e-46a7-b7b4-e4a6760ecd8a" providerId="ADAL" clId="{69F2DA64-4A59-4EB1-80C9-6C8B92288DA2}" dt="2023-04-04T10:38:05.306" v="1129" actId="790"/>
          <ac:spMkLst>
            <pc:docMk/>
            <pc:sldMk cId="687098660" sldId="2147376961"/>
            <ac:spMk id="121" creationId="{B443EBFC-3DB4-495E-9728-E192A1F6FCEF}"/>
          </ac:spMkLst>
        </pc:spChg>
        <pc:spChg chg="mod">
          <ac:chgData name="Kumpulainen, Teemu (RC-FI DI PA)" userId="9e6db126-282e-46a7-b7b4-e4a6760ecd8a" providerId="ADAL" clId="{69F2DA64-4A59-4EB1-80C9-6C8B92288DA2}" dt="2023-04-04T10:38:05.303" v="1123" actId="790"/>
          <ac:spMkLst>
            <pc:docMk/>
            <pc:sldMk cId="687098660" sldId="2147376961"/>
            <ac:spMk id="122" creationId="{F685D884-C10A-6846-7BD4-705668164951}"/>
          </ac:spMkLst>
        </pc:spChg>
        <pc:spChg chg="mod">
          <ac:chgData name="Kumpulainen, Teemu (RC-FI DI PA)" userId="9e6db126-282e-46a7-b7b4-e4a6760ecd8a" providerId="ADAL" clId="{69F2DA64-4A59-4EB1-80C9-6C8B92288DA2}" dt="2023-04-04T10:38:05.303" v="1124" actId="790"/>
          <ac:spMkLst>
            <pc:docMk/>
            <pc:sldMk cId="687098660" sldId="2147376961"/>
            <ac:spMk id="123" creationId="{50AE860C-9A48-F497-BD15-D9B1577EBF5A}"/>
          </ac:spMkLst>
        </pc:spChg>
        <pc:spChg chg="mod">
          <ac:chgData name="Kumpulainen, Teemu (RC-FI DI PA)" userId="9e6db126-282e-46a7-b7b4-e4a6760ecd8a" providerId="ADAL" clId="{69F2DA64-4A59-4EB1-80C9-6C8B92288DA2}" dt="2023-04-04T10:38:05.304" v="1125" actId="790"/>
          <ac:spMkLst>
            <pc:docMk/>
            <pc:sldMk cId="687098660" sldId="2147376961"/>
            <ac:spMk id="124" creationId="{C65D7C26-072C-71A8-53B4-F17201E5BCDE}"/>
          </ac:spMkLst>
        </pc:spChg>
        <pc:spChg chg="mod">
          <ac:chgData name="Kumpulainen, Teemu (RC-FI DI PA)" userId="9e6db126-282e-46a7-b7b4-e4a6760ecd8a" providerId="ADAL" clId="{69F2DA64-4A59-4EB1-80C9-6C8B92288DA2}" dt="2023-04-04T10:38:05.304" v="1126" actId="790"/>
          <ac:spMkLst>
            <pc:docMk/>
            <pc:sldMk cId="687098660" sldId="2147376961"/>
            <ac:spMk id="125" creationId="{6E58A32C-0D26-9D2E-A624-E141C32B0083}"/>
          </ac:spMkLst>
        </pc:spChg>
        <pc:spChg chg="mod">
          <ac:chgData name="Kumpulainen, Teemu (RC-FI DI PA)" userId="9e6db126-282e-46a7-b7b4-e4a6760ecd8a" providerId="ADAL" clId="{69F2DA64-4A59-4EB1-80C9-6C8B92288DA2}" dt="2023-04-04T10:38:05.305" v="1127" actId="790"/>
          <ac:spMkLst>
            <pc:docMk/>
            <pc:sldMk cId="687098660" sldId="2147376961"/>
            <ac:spMk id="126" creationId="{1A9DBD5B-A6E6-F819-67D9-5CA367B7FEB1}"/>
          </ac:spMkLst>
        </pc:spChg>
        <pc:spChg chg="mod">
          <ac:chgData name="Kumpulainen, Teemu (RC-FI DI PA)" userId="9e6db126-282e-46a7-b7b4-e4a6760ecd8a" providerId="ADAL" clId="{69F2DA64-4A59-4EB1-80C9-6C8B92288DA2}" dt="2023-04-04T10:38:05.302" v="1122" actId="790"/>
          <ac:spMkLst>
            <pc:docMk/>
            <pc:sldMk cId="687098660" sldId="2147376961"/>
            <ac:spMk id="130" creationId="{1A0E2BC2-47E0-153E-14CB-DEB4DEB9D5ED}"/>
          </ac:spMkLst>
        </pc:spChg>
        <pc:spChg chg="mod">
          <ac:chgData name="Kumpulainen, Teemu (RC-FI DI PA)" userId="9e6db126-282e-46a7-b7b4-e4a6760ecd8a" providerId="ADAL" clId="{69F2DA64-4A59-4EB1-80C9-6C8B92288DA2}" dt="2023-04-04T10:38:05.301" v="1120" actId="790"/>
          <ac:spMkLst>
            <pc:docMk/>
            <pc:sldMk cId="687098660" sldId="2147376961"/>
            <ac:spMk id="131" creationId="{DBF8B1FA-7645-9939-F6EF-6E39ED007452}"/>
          </ac:spMkLst>
        </pc:spChg>
        <pc:spChg chg="mod">
          <ac:chgData name="Kumpulainen, Teemu (RC-FI DI PA)" userId="9e6db126-282e-46a7-b7b4-e4a6760ecd8a" providerId="ADAL" clId="{69F2DA64-4A59-4EB1-80C9-6C8B92288DA2}" dt="2023-04-04T10:38:05.302" v="1121" actId="790"/>
          <ac:spMkLst>
            <pc:docMk/>
            <pc:sldMk cId="687098660" sldId="2147376961"/>
            <ac:spMk id="132" creationId="{0433D19A-F897-5693-2032-35AC1D67F2D0}"/>
          </ac:spMkLst>
        </pc:spChg>
        <pc:spChg chg="mod">
          <ac:chgData name="Kumpulainen, Teemu (RC-FI DI PA)" userId="9e6db126-282e-46a7-b7b4-e4a6760ecd8a" providerId="ADAL" clId="{69F2DA64-4A59-4EB1-80C9-6C8B92288DA2}" dt="2023-04-04T10:38:05.297" v="1113" actId="790"/>
          <ac:spMkLst>
            <pc:docMk/>
            <pc:sldMk cId="687098660" sldId="2147376961"/>
            <ac:spMk id="133" creationId="{688A2170-5E85-10EB-CBEF-DE8A1160ADA2}"/>
          </ac:spMkLst>
        </pc:spChg>
        <pc:spChg chg="mod">
          <ac:chgData name="Kumpulainen, Teemu (RC-FI DI PA)" userId="9e6db126-282e-46a7-b7b4-e4a6760ecd8a" providerId="ADAL" clId="{69F2DA64-4A59-4EB1-80C9-6C8B92288DA2}" dt="2023-04-04T10:38:05.298" v="1114" actId="790"/>
          <ac:spMkLst>
            <pc:docMk/>
            <pc:sldMk cId="687098660" sldId="2147376961"/>
            <ac:spMk id="134" creationId="{7BB1B2F9-D2C9-BDC9-8D0A-669C86D8CD8D}"/>
          </ac:spMkLst>
        </pc:spChg>
        <pc:spChg chg="mod">
          <ac:chgData name="Kumpulainen, Teemu (RC-FI DI PA)" userId="9e6db126-282e-46a7-b7b4-e4a6760ecd8a" providerId="ADAL" clId="{69F2DA64-4A59-4EB1-80C9-6C8B92288DA2}" dt="2023-04-04T10:38:05.298" v="1115" actId="790"/>
          <ac:spMkLst>
            <pc:docMk/>
            <pc:sldMk cId="687098660" sldId="2147376961"/>
            <ac:spMk id="135" creationId="{2287AF75-4647-330F-3342-764200360C19}"/>
          </ac:spMkLst>
        </pc:spChg>
        <pc:spChg chg="mod">
          <ac:chgData name="Kumpulainen, Teemu (RC-FI DI PA)" userId="9e6db126-282e-46a7-b7b4-e4a6760ecd8a" providerId="ADAL" clId="{69F2DA64-4A59-4EB1-80C9-6C8B92288DA2}" dt="2023-04-04T10:38:05.299" v="1116" actId="790"/>
          <ac:spMkLst>
            <pc:docMk/>
            <pc:sldMk cId="687098660" sldId="2147376961"/>
            <ac:spMk id="136" creationId="{EC58E947-9DB0-2A7B-1007-BE8A1CF64A9B}"/>
          </ac:spMkLst>
        </pc:spChg>
        <pc:spChg chg="mod">
          <ac:chgData name="Kumpulainen, Teemu (RC-FI DI PA)" userId="9e6db126-282e-46a7-b7b4-e4a6760ecd8a" providerId="ADAL" clId="{69F2DA64-4A59-4EB1-80C9-6C8B92288DA2}" dt="2023-04-04T10:38:05.299" v="1117" actId="790"/>
          <ac:spMkLst>
            <pc:docMk/>
            <pc:sldMk cId="687098660" sldId="2147376961"/>
            <ac:spMk id="137" creationId="{E5AC38EB-689E-4169-E54A-44D5646E4026}"/>
          </ac:spMkLst>
        </pc:spChg>
        <pc:spChg chg="mod">
          <ac:chgData name="Kumpulainen, Teemu (RC-FI DI PA)" userId="9e6db126-282e-46a7-b7b4-e4a6760ecd8a" providerId="ADAL" clId="{69F2DA64-4A59-4EB1-80C9-6C8B92288DA2}" dt="2023-04-04T10:38:05.300" v="1118" actId="790"/>
          <ac:spMkLst>
            <pc:docMk/>
            <pc:sldMk cId="687098660" sldId="2147376961"/>
            <ac:spMk id="138" creationId="{09417294-7131-C910-2CDD-2A58DC4A767D}"/>
          </ac:spMkLst>
        </pc:spChg>
        <pc:spChg chg="mod">
          <ac:chgData name="Kumpulainen, Teemu (RC-FI DI PA)" userId="9e6db126-282e-46a7-b7b4-e4a6760ecd8a" providerId="ADAL" clId="{69F2DA64-4A59-4EB1-80C9-6C8B92288DA2}" dt="2023-04-04T10:38:05.300" v="1119" actId="790"/>
          <ac:spMkLst>
            <pc:docMk/>
            <pc:sldMk cId="687098660" sldId="2147376961"/>
            <ac:spMk id="139" creationId="{40FE886A-803F-7761-5E93-24577F855B3F}"/>
          </ac:spMkLst>
        </pc:spChg>
        <pc:spChg chg="mod">
          <ac:chgData name="Kumpulainen, Teemu (RC-FI DI PA)" userId="9e6db126-282e-46a7-b7b4-e4a6760ecd8a" providerId="ADAL" clId="{69F2DA64-4A59-4EB1-80C9-6C8B92288DA2}" dt="2023-04-04T10:38:05.351" v="1195" actId="790"/>
          <ac:spMkLst>
            <pc:docMk/>
            <pc:sldMk cId="687098660" sldId="2147376961"/>
            <ac:spMk id="150" creationId="{7399097A-4B23-1FA9-687A-6EC29D12534C}"/>
          </ac:spMkLst>
        </pc:spChg>
        <pc:spChg chg="mod">
          <ac:chgData name="Kumpulainen, Teemu (RC-FI DI PA)" userId="9e6db126-282e-46a7-b7b4-e4a6760ecd8a" providerId="ADAL" clId="{69F2DA64-4A59-4EB1-80C9-6C8B92288DA2}" dt="2023-04-04T10:38:05.352" v="1196" actId="790"/>
          <ac:spMkLst>
            <pc:docMk/>
            <pc:sldMk cId="687098660" sldId="2147376961"/>
            <ac:spMk id="151" creationId="{10051731-1072-098D-5C61-EE169958B086}"/>
          </ac:spMkLst>
        </pc:spChg>
        <pc:spChg chg="mod">
          <ac:chgData name="Kumpulainen, Teemu (RC-FI DI PA)" userId="9e6db126-282e-46a7-b7b4-e4a6760ecd8a" providerId="ADAL" clId="{69F2DA64-4A59-4EB1-80C9-6C8B92288DA2}" dt="2023-04-04T10:38:05.352" v="1197" actId="790"/>
          <ac:spMkLst>
            <pc:docMk/>
            <pc:sldMk cId="687098660" sldId="2147376961"/>
            <ac:spMk id="153" creationId="{5B66306E-EA56-11E9-B920-0E8EA49DEE21}"/>
          </ac:spMkLst>
        </pc:spChg>
        <pc:spChg chg="mod">
          <ac:chgData name="Kumpulainen, Teemu (RC-FI DI PA)" userId="9e6db126-282e-46a7-b7b4-e4a6760ecd8a" providerId="ADAL" clId="{69F2DA64-4A59-4EB1-80C9-6C8B92288DA2}" dt="2023-04-04T10:38:05.353" v="1198" actId="790"/>
          <ac:spMkLst>
            <pc:docMk/>
            <pc:sldMk cId="687098660" sldId="2147376961"/>
            <ac:spMk id="154" creationId="{6E0668B1-E3E5-0038-C12F-731900215822}"/>
          </ac:spMkLst>
        </pc:spChg>
        <pc:spChg chg="mod">
          <ac:chgData name="Kumpulainen, Teemu (RC-FI DI PA)" userId="9e6db126-282e-46a7-b7b4-e4a6760ecd8a" providerId="ADAL" clId="{69F2DA64-4A59-4EB1-80C9-6C8B92288DA2}" dt="2023-04-04T10:38:05.353" v="1199" actId="790"/>
          <ac:spMkLst>
            <pc:docMk/>
            <pc:sldMk cId="687098660" sldId="2147376961"/>
            <ac:spMk id="155" creationId="{D11C5BDE-AF5A-4BAF-D032-5A2C03E7BBB0}"/>
          </ac:spMkLst>
        </pc:spChg>
        <pc:spChg chg="mod">
          <ac:chgData name="Kumpulainen, Teemu (RC-FI DI PA)" userId="9e6db126-282e-46a7-b7b4-e4a6760ecd8a" providerId="ADAL" clId="{69F2DA64-4A59-4EB1-80C9-6C8B92288DA2}" dt="2023-04-04T10:38:05.354" v="1200" actId="790"/>
          <ac:spMkLst>
            <pc:docMk/>
            <pc:sldMk cId="687098660" sldId="2147376961"/>
            <ac:spMk id="156" creationId="{D8BB1689-16FA-3CB1-F6A3-2999FA9C6163}"/>
          </ac:spMkLst>
        </pc:spChg>
        <pc:spChg chg="mod">
          <ac:chgData name="Kumpulainen, Teemu (RC-FI DI PA)" userId="9e6db126-282e-46a7-b7b4-e4a6760ecd8a" providerId="ADAL" clId="{69F2DA64-4A59-4EB1-80C9-6C8B92288DA2}" dt="2023-04-04T10:38:05.354" v="1201" actId="790"/>
          <ac:spMkLst>
            <pc:docMk/>
            <pc:sldMk cId="687098660" sldId="2147376961"/>
            <ac:spMk id="157" creationId="{47899555-AB12-8F7F-1B31-64AE46051EE3}"/>
          </ac:spMkLst>
        </pc:spChg>
        <pc:spChg chg="mod">
          <ac:chgData name="Kumpulainen, Teemu (RC-FI DI PA)" userId="9e6db126-282e-46a7-b7b4-e4a6760ecd8a" providerId="ADAL" clId="{69F2DA64-4A59-4EB1-80C9-6C8B92288DA2}" dt="2023-04-04T10:38:05.284" v="1090" actId="790"/>
          <ac:spMkLst>
            <pc:docMk/>
            <pc:sldMk cId="687098660" sldId="2147376961"/>
            <ac:spMk id="163" creationId="{C48C82D3-EB8F-7D95-81F4-4462E7CF1080}"/>
          </ac:spMkLst>
        </pc:spChg>
        <pc:spChg chg="mod">
          <ac:chgData name="Kumpulainen, Teemu (RC-FI DI PA)" userId="9e6db126-282e-46a7-b7b4-e4a6760ecd8a" providerId="ADAL" clId="{69F2DA64-4A59-4EB1-80C9-6C8B92288DA2}" dt="2023-04-04T10:38:05.285" v="1091" actId="790"/>
          <ac:spMkLst>
            <pc:docMk/>
            <pc:sldMk cId="687098660" sldId="2147376961"/>
            <ac:spMk id="164" creationId="{2C6765C6-7351-B82D-F827-29514AD40CB8}"/>
          </ac:spMkLst>
        </pc:spChg>
        <pc:spChg chg="mod">
          <ac:chgData name="Kumpulainen, Teemu (RC-FI DI PA)" userId="9e6db126-282e-46a7-b7b4-e4a6760ecd8a" providerId="ADAL" clId="{69F2DA64-4A59-4EB1-80C9-6C8B92288DA2}" dt="2023-04-04T10:38:05.282" v="1085" actId="790"/>
          <ac:spMkLst>
            <pc:docMk/>
            <pc:sldMk cId="687098660" sldId="2147376961"/>
            <ac:spMk id="165" creationId="{BF745963-9166-C75E-5BEA-85711F2782F0}"/>
          </ac:spMkLst>
        </pc:spChg>
        <pc:spChg chg="mod">
          <ac:chgData name="Kumpulainen, Teemu (RC-FI DI PA)" userId="9e6db126-282e-46a7-b7b4-e4a6760ecd8a" providerId="ADAL" clId="{69F2DA64-4A59-4EB1-80C9-6C8B92288DA2}" dt="2023-04-04T10:38:05.282" v="1086" actId="790"/>
          <ac:spMkLst>
            <pc:docMk/>
            <pc:sldMk cId="687098660" sldId="2147376961"/>
            <ac:spMk id="166" creationId="{790C47B6-249F-5303-29EC-4FED9F934F39}"/>
          </ac:spMkLst>
        </pc:spChg>
        <pc:spChg chg="mod">
          <ac:chgData name="Kumpulainen, Teemu (RC-FI DI PA)" userId="9e6db126-282e-46a7-b7b4-e4a6760ecd8a" providerId="ADAL" clId="{69F2DA64-4A59-4EB1-80C9-6C8B92288DA2}" dt="2023-04-04T10:38:05.283" v="1087" actId="790"/>
          <ac:spMkLst>
            <pc:docMk/>
            <pc:sldMk cId="687098660" sldId="2147376961"/>
            <ac:spMk id="167" creationId="{96DF18B3-3308-98FF-B1F6-85A20032CED7}"/>
          </ac:spMkLst>
        </pc:spChg>
        <pc:spChg chg="mod">
          <ac:chgData name="Kumpulainen, Teemu (RC-FI DI PA)" userId="9e6db126-282e-46a7-b7b4-e4a6760ecd8a" providerId="ADAL" clId="{69F2DA64-4A59-4EB1-80C9-6C8B92288DA2}" dt="2023-04-04T10:38:05.283" v="1088" actId="790"/>
          <ac:spMkLst>
            <pc:docMk/>
            <pc:sldMk cId="687098660" sldId="2147376961"/>
            <ac:spMk id="168" creationId="{93947AB4-172D-1729-ED47-BB8F4D896CDF}"/>
          </ac:spMkLst>
        </pc:spChg>
        <pc:spChg chg="mod">
          <ac:chgData name="Kumpulainen, Teemu (RC-FI DI PA)" userId="9e6db126-282e-46a7-b7b4-e4a6760ecd8a" providerId="ADAL" clId="{69F2DA64-4A59-4EB1-80C9-6C8B92288DA2}" dt="2023-04-04T10:38:05.284" v="1089" actId="790"/>
          <ac:spMkLst>
            <pc:docMk/>
            <pc:sldMk cId="687098660" sldId="2147376961"/>
            <ac:spMk id="169" creationId="{B6AB839E-C019-DFA8-68E0-BF658D210258}"/>
          </ac:spMkLst>
        </pc:spChg>
        <pc:spChg chg="mod">
          <ac:chgData name="Kumpulainen, Teemu (RC-FI DI PA)" userId="9e6db126-282e-46a7-b7b4-e4a6760ecd8a" providerId="ADAL" clId="{69F2DA64-4A59-4EB1-80C9-6C8B92288DA2}" dt="2023-04-04T10:38:05.281" v="1084" actId="790"/>
          <ac:spMkLst>
            <pc:docMk/>
            <pc:sldMk cId="687098660" sldId="2147376961"/>
            <ac:spMk id="173" creationId="{519F7804-6955-E9D1-36B9-A4D925B8E3EA}"/>
          </ac:spMkLst>
        </pc:spChg>
        <pc:spChg chg="mod">
          <ac:chgData name="Kumpulainen, Teemu (RC-FI DI PA)" userId="9e6db126-282e-46a7-b7b4-e4a6760ecd8a" providerId="ADAL" clId="{69F2DA64-4A59-4EB1-80C9-6C8B92288DA2}" dt="2023-04-04T10:38:05.280" v="1082" actId="790"/>
          <ac:spMkLst>
            <pc:docMk/>
            <pc:sldMk cId="687098660" sldId="2147376961"/>
            <ac:spMk id="174" creationId="{26C07652-5D13-A757-FCA3-5E1740900A72}"/>
          </ac:spMkLst>
        </pc:spChg>
        <pc:spChg chg="mod">
          <ac:chgData name="Kumpulainen, Teemu (RC-FI DI PA)" userId="9e6db126-282e-46a7-b7b4-e4a6760ecd8a" providerId="ADAL" clId="{69F2DA64-4A59-4EB1-80C9-6C8B92288DA2}" dt="2023-04-04T10:38:05.281" v="1083" actId="790"/>
          <ac:spMkLst>
            <pc:docMk/>
            <pc:sldMk cId="687098660" sldId="2147376961"/>
            <ac:spMk id="175" creationId="{52C23ECA-B115-9201-DBDC-E9ED7CC61FE2}"/>
          </ac:spMkLst>
        </pc:spChg>
        <pc:spChg chg="mod">
          <ac:chgData name="Kumpulainen, Teemu (RC-FI DI PA)" userId="9e6db126-282e-46a7-b7b4-e4a6760ecd8a" providerId="ADAL" clId="{69F2DA64-4A59-4EB1-80C9-6C8B92288DA2}" dt="2023-04-04T10:38:05.276" v="1075" actId="790"/>
          <ac:spMkLst>
            <pc:docMk/>
            <pc:sldMk cId="687098660" sldId="2147376961"/>
            <ac:spMk id="176" creationId="{72D59859-8F26-DBAA-24FB-80882B3159D7}"/>
          </ac:spMkLst>
        </pc:spChg>
        <pc:spChg chg="mod">
          <ac:chgData name="Kumpulainen, Teemu (RC-FI DI PA)" userId="9e6db126-282e-46a7-b7b4-e4a6760ecd8a" providerId="ADAL" clId="{69F2DA64-4A59-4EB1-80C9-6C8B92288DA2}" dt="2023-04-04T10:38:05.277" v="1076" actId="790"/>
          <ac:spMkLst>
            <pc:docMk/>
            <pc:sldMk cId="687098660" sldId="2147376961"/>
            <ac:spMk id="177" creationId="{4731855A-9FA2-7ECC-AECA-01E1A2DA8B9D}"/>
          </ac:spMkLst>
        </pc:spChg>
        <pc:spChg chg="mod">
          <ac:chgData name="Kumpulainen, Teemu (RC-FI DI PA)" userId="9e6db126-282e-46a7-b7b4-e4a6760ecd8a" providerId="ADAL" clId="{69F2DA64-4A59-4EB1-80C9-6C8B92288DA2}" dt="2023-04-04T10:38:05.277" v="1077" actId="790"/>
          <ac:spMkLst>
            <pc:docMk/>
            <pc:sldMk cId="687098660" sldId="2147376961"/>
            <ac:spMk id="178" creationId="{C465D155-FD7A-057C-596A-22B543B848F3}"/>
          </ac:spMkLst>
        </pc:spChg>
        <pc:spChg chg="mod">
          <ac:chgData name="Kumpulainen, Teemu (RC-FI DI PA)" userId="9e6db126-282e-46a7-b7b4-e4a6760ecd8a" providerId="ADAL" clId="{69F2DA64-4A59-4EB1-80C9-6C8B92288DA2}" dt="2023-04-04T10:38:05.274" v="1071" actId="790"/>
          <ac:spMkLst>
            <pc:docMk/>
            <pc:sldMk cId="687098660" sldId="2147376961"/>
            <ac:spMk id="180" creationId="{82CBF53C-7DD2-4252-866D-2E1B40E6FD7A}"/>
          </ac:spMkLst>
        </pc:spChg>
        <pc:spChg chg="mod">
          <ac:chgData name="Kumpulainen, Teemu (RC-FI DI PA)" userId="9e6db126-282e-46a7-b7b4-e4a6760ecd8a" providerId="ADAL" clId="{69F2DA64-4A59-4EB1-80C9-6C8B92288DA2}" dt="2023-04-04T10:38:05.278" v="1078" actId="790"/>
          <ac:spMkLst>
            <pc:docMk/>
            <pc:sldMk cId="687098660" sldId="2147376961"/>
            <ac:spMk id="186" creationId="{0F883E91-612F-D97E-82FE-DA88D213AE86}"/>
          </ac:spMkLst>
        </pc:spChg>
        <pc:spChg chg="mod">
          <ac:chgData name="Kumpulainen, Teemu (RC-FI DI PA)" userId="9e6db126-282e-46a7-b7b4-e4a6760ecd8a" providerId="ADAL" clId="{69F2DA64-4A59-4EB1-80C9-6C8B92288DA2}" dt="2023-04-04T10:38:05.278" v="1079" actId="790"/>
          <ac:spMkLst>
            <pc:docMk/>
            <pc:sldMk cId="687098660" sldId="2147376961"/>
            <ac:spMk id="187" creationId="{C3F54353-4161-C22A-EB4B-E8CF149A5ADD}"/>
          </ac:spMkLst>
        </pc:spChg>
        <pc:spChg chg="mod">
          <ac:chgData name="Kumpulainen, Teemu (RC-FI DI PA)" userId="9e6db126-282e-46a7-b7b4-e4a6760ecd8a" providerId="ADAL" clId="{69F2DA64-4A59-4EB1-80C9-6C8B92288DA2}" dt="2023-04-04T10:38:05.279" v="1080" actId="790"/>
          <ac:spMkLst>
            <pc:docMk/>
            <pc:sldMk cId="687098660" sldId="2147376961"/>
            <ac:spMk id="188" creationId="{637B10B9-D694-A0CA-4308-55C970B96757}"/>
          </ac:spMkLst>
        </pc:spChg>
        <pc:spChg chg="mod">
          <ac:chgData name="Kumpulainen, Teemu (RC-FI DI PA)" userId="9e6db126-282e-46a7-b7b4-e4a6760ecd8a" providerId="ADAL" clId="{69F2DA64-4A59-4EB1-80C9-6C8B92288DA2}" dt="2023-04-04T10:38:05.280" v="1081" actId="790"/>
          <ac:spMkLst>
            <pc:docMk/>
            <pc:sldMk cId="687098660" sldId="2147376961"/>
            <ac:spMk id="189" creationId="{5C02F5B7-4663-BB78-828E-5F930C91A293}"/>
          </ac:spMkLst>
        </pc:spChg>
        <pc:spChg chg="mod">
          <ac:chgData name="Kumpulainen, Teemu (RC-FI DI PA)" userId="9e6db126-282e-46a7-b7b4-e4a6760ecd8a" providerId="ADAL" clId="{69F2DA64-4A59-4EB1-80C9-6C8B92288DA2}" dt="2023-04-04T10:38:05.333" v="1167" actId="790"/>
          <ac:spMkLst>
            <pc:docMk/>
            <pc:sldMk cId="687098660" sldId="2147376961"/>
            <ac:spMk id="190" creationId="{F87AE7CC-6D19-DBB9-85DA-9FE988C72123}"/>
          </ac:spMkLst>
        </pc:spChg>
        <pc:spChg chg="mod">
          <ac:chgData name="Kumpulainen, Teemu (RC-FI DI PA)" userId="9e6db126-282e-46a7-b7b4-e4a6760ecd8a" providerId="ADAL" clId="{69F2DA64-4A59-4EB1-80C9-6C8B92288DA2}" dt="2023-04-04T10:38:05.275" v="1072" actId="790"/>
          <ac:spMkLst>
            <pc:docMk/>
            <pc:sldMk cId="687098660" sldId="2147376961"/>
            <ac:spMk id="191" creationId="{D16D4ABC-A02C-03BF-B229-52FBE3FB0073}"/>
          </ac:spMkLst>
        </pc:spChg>
        <pc:spChg chg="mod">
          <ac:chgData name="Kumpulainen, Teemu (RC-FI DI PA)" userId="9e6db126-282e-46a7-b7b4-e4a6760ecd8a" providerId="ADAL" clId="{69F2DA64-4A59-4EB1-80C9-6C8B92288DA2}" dt="2023-04-04T10:38:05.275" v="1073" actId="790"/>
          <ac:spMkLst>
            <pc:docMk/>
            <pc:sldMk cId="687098660" sldId="2147376961"/>
            <ac:spMk id="192" creationId="{9B492DE2-EAD4-8AA3-092F-44993BDA2ECF}"/>
          </ac:spMkLst>
        </pc:spChg>
        <pc:spChg chg="mod">
          <ac:chgData name="Kumpulainen, Teemu (RC-FI DI PA)" userId="9e6db126-282e-46a7-b7b4-e4a6760ecd8a" providerId="ADAL" clId="{69F2DA64-4A59-4EB1-80C9-6C8B92288DA2}" dt="2023-04-04T10:38:05.347" v="1187" actId="790"/>
          <ac:spMkLst>
            <pc:docMk/>
            <pc:sldMk cId="687098660" sldId="2147376961"/>
            <ac:spMk id="194" creationId="{7DFF6236-A1EB-757E-970C-B3C100410632}"/>
          </ac:spMkLst>
        </pc:spChg>
        <pc:spChg chg="mod">
          <ac:chgData name="Kumpulainen, Teemu (RC-FI DI PA)" userId="9e6db126-282e-46a7-b7b4-e4a6760ecd8a" providerId="ADAL" clId="{69F2DA64-4A59-4EB1-80C9-6C8B92288DA2}" dt="2023-04-04T10:38:05.347" v="1188" actId="790"/>
          <ac:spMkLst>
            <pc:docMk/>
            <pc:sldMk cId="687098660" sldId="2147376961"/>
            <ac:spMk id="195" creationId="{6E5256D4-9647-0069-4EA2-D59AFE28202F}"/>
          </ac:spMkLst>
        </pc:spChg>
        <pc:spChg chg="mod">
          <ac:chgData name="Kumpulainen, Teemu (RC-FI DI PA)" userId="9e6db126-282e-46a7-b7b4-e4a6760ecd8a" providerId="ADAL" clId="{69F2DA64-4A59-4EB1-80C9-6C8B92288DA2}" dt="2023-04-04T10:38:05.348" v="1189" actId="790"/>
          <ac:spMkLst>
            <pc:docMk/>
            <pc:sldMk cId="687098660" sldId="2147376961"/>
            <ac:spMk id="197" creationId="{5ECA2B8A-D18A-E8A8-3B4B-A173EC43215D}"/>
          </ac:spMkLst>
        </pc:spChg>
        <pc:spChg chg="mod">
          <ac:chgData name="Kumpulainen, Teemu (RC-FI DI PA)" userId="9e6db126-282e-46a7-b7b4-e4a6760ecd8a" providerId="ADAL" clId="{69F2DA64-4A59-4EB1-80C9-6C8B92288DA2}" dt="2023-04-04T10:38:05.348" v="1190" actId="790"/>
          <ac:spMkLst>
            <pc:docMk/>
            <pc:sldMk cId="687098660" sldId="2147376961"/>
            <ac:spMk id="198" creationId="{0E8FD457-57A4-288A-107D-1E4F0E99FE58}"/>
          </ac:spMkLst>
        </pc:spChg>
        <pc:spChg chg="mod">
          <ac:chgData name="Kumpulainen, Teemu (RC-FI DI PA)" userId="9e6db126-282e-46a7-b7b4-e4a6760ecd8a" providerId="ADAL" clId="{69F2DA64-4A59-4EB1-80C9-6C8B92288DA2}" dt="2023-04-04T10:38:05.349" v="1191" actId="790"/>
          <ac:spMkLst>
            <pc:docMk/>
            <pc:sldMk cId="687098660" sldId="2147376961"/>
            <ac:spMk id="199" creationId="{98D9790F-03AB-12C3-495B-A2A7A9550DD4}"/>
          </ac:spMkLst>
        </pc:spChg>
        <pc:spChg chg="mod">
          <ac:chgData name="Kumpulainen, Teemu (RC-FI DI PA)" userId="9e6db126-282e-46a7-b7b4-e4a6760ecd8a" providerId="ADAL" clId="{69F2DA64-4A59-4EB1-80C9-6C8B92288DA2}" dt="2023-04-04T10:38:05.349" v="1192" actId="790"/>
          <ac:spMkLst>
            <pc:docMk/>
            <pc:sldMk cId="687098660" sldId="2147376961"/>
            <ac:spMk id="200" creationId="{89209D4B-0DC9-67B8-624F-00E52135B5CE}"/>
          </ac:spMkLst>
        </pc:spChg>
        <pc:spChg chg="mod">
          <ac:chgData name="Kumpulainen, Teemu (RC-FI DI PA)" userId="9e6db126-282e-46a7-b7b4-e4a6760ecd8a" providerId="ADAL" clId="{69F2DA64-4A59-4EB1-80C9-6C8B92288DA2}" dt="2023-04-04T10:38:05.350" v="1193" actId="790"/>
          <ac:spMkLst>
            <pc:docMk/>
            <pc:sldMk cId="687098660" sldId="2147376961"/>
            <ac:spMk id="201" creationId="{EA971454-01A4-28F4-60AB-B4EB886B4B89}"/>
          </ac:spMkLst>
        </pc:spChg>
        <pc:spChg chg="mod">
          <ac:chgData name="Kumpulainen, Teemu (RC-FI DI PA)" userId="9e6db126-282e-46a7-b7b4-e4a6760ecd8a" providerId="ADAL" clId="{69F2DA64-4A59-4EB1-80C9-6C8B92288DA2}" dt="2023-04-04T10:38:05.332" v="1166" actId="790"/>
          <ac:spMkLst>
            <pc:docMk/>
            <pc:sldMk cId="687098660" sldId="2147376961"/>
            <ac:spMk id="202" creationId="{7A36DAB5-28E3-B28E-31DA-72FF18521617}"/>
          </ac:spMkLst>
        </pc:spChg>
        <pc:spChg chg="mod">
          <ac:chgData name="Kumpulainen, Teemu (RC-FI DI PA)" userId="9e6db126-282e-46a7-b7b4-e4a6760ecd8a" providerId="ADAL" clId="{69F2DA64-4A59-4EB1-80C9-6C8B92288DA2}" dt="2023-04-04T10:38:05.331" v="1165" actId="790"/>
          <ac:spMkLst>
            <pc:docMk/>
            <pc:sldMk cId="687098660" sldId="2147376961"/>
            <ac:spMk id="203" creationId="{958A7063-916D-1FA3-EE48-56FC318663F6}"/>
          </ac:spMkLst>
        </pc:spChg>
        <pc:spChg chg="mod">
          <ac:chgData name="Kumpulainen, Teemu (RC-FI DI PA)" userId="9e6db126-282e-46a7-b7b4-e4a6760ecd8a" providerId="ADAL" clId="{69F2DA64-4A59-4EB1-80C9-6C8B92288DA2}" dt="2023-04-04T10:38:05.334" v="1168" actId="790"/>
          <ac:spMkLst>
            <pc:docMk/>
            <pc:sldMk cId="687098660" sldId="2147376961"/>
            <ac:spMk id="204" creationId="{88793107-55A7-C476-C2D7-CECBB2E22DB0}"/>
          </ac:spMkLst>
        </pc:spChg>
        <pc:spChg chg="mod">
          <ac:chgData name="Kumpulainen, Teemu (RC-FI DI PA)" userId="9e6db126-282e-46a7-b7b4-e4a6760ecd8a" providerId="ADAL" clId="{69F2DA64-4A59-4EB1-80C9-6C8B92288DA2}" dt="2023-04-04T10:38:05.350" v="1194" actId="790"/>
          <ac:spMkLst>
            <pc:docMk/>
            <pc:sldMk cId="687098660" sldId="2147376961"/>
            <ac:spMk id="205" creationId="{C6BD65AB-F113-3E8F-CED4-7BD71B855945}"/>
          </ac:spMkLst>
        </pc:spChg>
        <pc:spChg chg="mod">
          <ac:chgData name="Kumpulainen, Teemu (RC-FI DI PA)" userId="9e6db126-282e-46a7-b7b4-e4a6760ecd8a" providerId="ADAL" clId="{69F2DA64-4A59-4EB1-80C9-6C8B92288DA2}" dt="2023-04-04T10:38:05.285" v="1092" actId="790"/>
          <ac:spMkLst>
            <pc:docMk/>
            <pc:sldMk cId="687098660" sldId="2147376961"/>
            <ac:spMk id="207" creationId="{FB1841CA-7D30-F3DD-E0F1-D29687F35CA9}"/>
          </ac:spMkLst>
        </pc:spChg>
        <pc:spChg chg="mod">
          <ac:chgData name="Kumpulainen, Teemu (RC-FI DI PA)" userId="9e6db126-282e-46a7-b7b4-e4a6760ecd8a" providerId="ADAL" clId="{69F2DA64-4A59-4EB1-80C9-6C8B92288DA2}" dt="2023-04-04T10:38:05.286" v="1093" actId="790"/>
          <ac:spMkLst>
            <pc:docMk/>
            <pc:sldMk cId="687098660" sldId="2147376961"/>
            <ac:spMk id="208" creationId="{6DC21959-AAC7-1174-F9CB-2FC2B7E59594}"/>
          </ac:spMkLst>
        </pc:spChg>
        <pc:spChg chg="mod">
          <ac:chgData name="Kumpulainen, Teemu (RC-FI DI PA)" userId="9e6db126-282e-46a7-b7b4-e4a6760ecd8a" providerId="ADAL" clId="{69F2DA64-4A59-4EB1-80C9-6C8B92288DA2}" dt="2023-04-04T10:38:05.286" v="1094" actId="790"/>
          <ac:spMkLst>
            <pc:docMk/>
            <pc:sldMk cId="687098660" sldId="2147376961"/>
            <ac:spMk id="209" creationId="{F365FF25-4810-B0B1-F18A-84A68C075003}"/>
          </ac:spMkLst>
        </pc:spChg>
        <pc:spChg chg="mod">
          <ac:chgData name="Kumpulainen, Teemu (RC-FI DI PA)" userId="9e6db126-282e-46a7-b7b4-e4a6760ecd8a" providerId="ADAL" clId="{69F2DA64-4A59-4EB1-80C9-6C8B92288DA2}" dt="2023-04-04T10:38:05.325" v="1157" actId="790"/>
          <ac:spMkLst>
            <pc:docMk/>
            <pc:sldMk cId="687098660" sldId="2147376961"/>
            <ac:spMk id="210" creationId="{D405B6BD-44C7-8421-D991-99EC251B128F}"/>
          </ac:spMkLst>
        </pc:spChg>
        <pc:spChg chg="mod">
          <ac:chgData name="Kumpulainen, Teemu (RC-FI DI PA)" userId="9e6db126-282e-46a7-b7b4-e4a6760ecd8a" providerId="ADAL" clId="{69F2DA64-4A59-4EB1-80C9-6C8B92288DA2}" dt="2023-04-04T10:38:05.273" v="1070" actId="790"/>
          <ac:spMkLst>
            <pc:docMk/>
            <pc:sldMk cId="687098660" sldId="2147376961"/>
            <ac:spMk id="213" creationId="{0B2AD237-C32E-46C0-9750-49AEA735D670}"/>
          </ac:spMkLst>
        </pc:spChg>
        <pc:spChg chg="mod">
          <ac:chgData name="Kumpulainen, Teemu (RC-FI DI PA)" userId="9e6db126-282e-46a7-b7b4-e4a6760ecd8a" providerId="ADAL" clId="{69F2DA64-4A59-4EB1-80C9-6C8B92288DA2}" dt="2023-04-04T10:38:05.288" v="1096" actId="790"/>
          <ac:spMkLst>
            <pc:docMk/>
            <pc:sldMk cId="687098660" sldId="2147376961"/>
            <ac:spMk id="217" creationId="{E60DC160-5140-0BFB-F176-6DC162DD55D2}"/>
          </ac:spMkLst>
        </pc:spChg>
        <pc:spChg chg="mod">
          <ac:chgData name="Kumpulainen, Teemu (RC-FI DI PA)" userId="9e6db126-282e-46a7-b7b4-e4a6760ecd8a" providerId="ADAL" clId="{69F2DA64-4A59-4EB1-80C9-6C8B92288DA2}" dt="2023-04-04T10:38:05.288" v="1097" actId="790"/>
          <ac:spMkLst>
            <pc:docMk/>
            <pc:sldMk cId="687098660" sldId="2147376961"/>
            <ac:spMk id="218" creationId="{3F2CE5EE-C459-9747-7638-0B5783ABD4A8}"/>
          </ac:spMkLst>
        </pc:spChg>
        <pc:spChg chg="mod">
          <ac:chgData name="Kumpulainen, Teemu (RC-FI DI PA)" userId="9e6db126-282e-46a7-b7b4-e4a6760ecd8a" providerId="ADAL" clId="{69F2DA64-4A59-4EB1-80C9-6C8B92288DA2}" dt="2023-04-04T10:38:05.289" v="1098" actId="790"/>
          <ac:spMkLst>
            <pc:docMk/>
            <pc:sldMk cId="687098660" sldId="2147376961"/>
            <ac:spMk id="220" creationId="{6608E92F-226B-C5C4-A58D-156B1B90DDC9}"/>
          </ac:spMkLst>
        </pc:spChg>
        <pc:spChg chg="mod">
          <ac:chgData name="Kumpulainen, Teemu (RC-FI DI PA)" userId="9e6db126-282e-46a7-b7b4-e4a6760ecd8a" providerId="ADAL" clId="{69F2DA64-4A59-4EB1-80C9-6C8B92288DA2}" dt="2023-04-04T10:38:05.290" v="1099" actId="790"/>
          <ac:spMkLst>
            <pc:docMk/>
            <pc:sldMk cId="687098660" sldId="2147376961"/>
            <ac:spMk id="221" creationId="{775F638E-768F-757A-7106-38B2983DD0A4}"/>
          </ac:spMkLst>
        </pc:spChg>
        <pc:spChg chg="mod">
          <ac:chgData name="Kumpulainen, Teemu (RC-FI DI PA)" userId="9e6db126-282e-46a7-b7b4-e4a6760ecd8a" providerId="ADAL" clId="{69F2DA64-4A59-4EB1-80C9-6C8B92288DA2}" dt="2023-04-04T10:38:05.290" v="1100" actId="790"/>
          <ac:spMkLst>
            <pc:docMk/>
            <pc:sldMk cId="687098660" sldId="2147376961"/>
            <ac:spMk id="222" creationId="{EE2DA892-B75E-F992-8006-5EE7B278F782}"/>
          </ac:spMkLst>
        </pc:spChg>
        <pc:spChg chg="mod">
          <ac:chgData name="Kumpulainen, Teemu (RC-FI DI PA)" userId="9e6db126-282e-46a7-b7b4-e4a6760ecd8a" providerId="ADAL" clId="{69F2DA64-4A59-4EB1-80C9-6C8B92288DA2}" dt="2023-04-04T10:38:05.291" v="1101" actId="790"/>
          <ac:spMkLst>
            <pc:docMk/>
            <pc:sldMk cId="687098660" sldId="2147376961"/>
            <ac:spMk id="223" creationId="{2EC555A6-7A58-69ED-0FBB-C5629BD4E3D1}"/>
          </ac:spMkLst>
        </pc:spChg>
        <pc:spChg chg="mod">
          <ac:chgData name="Kumpulainen, Teemu (RC-FI DI PA)" userId="9e6db126-282e-46a7-b7b4-e4a6760ecd8a" providerId="ADAL" clId="{69F2DA64-4A59-4EB1-80C9-6C8B92288DA2}" dt="2023-04-04T10:38:05.291" v="1102" actId="790"/>
          <ac:spMkLst>
            <pc:docMk/>
            <pc:sldMk cId="687098660" sldId="2147376961"/>
            <ac:spMk id="224" creationId="{83AD3346-66F5-D760-A4F8-002B3DABBEE5}"/>
          </ac:spMkLst>
        </pc:spChg>
        <pc:spChg chg="mod">
          <ac:chgData name="Kumpulainen, Teemu (RC-FI DI PA)" userId="9e6db126-282e-46a7-b7b4-e4a6760ecd8a" providerId="ADAL" clId="{69F2DA64-4A59-4EB1-80C9-6C8B92288DA2}" dt="2023-04-04T10:38:05.292" v="1103" actId="790"/>
          <ac:spMkLst>
            <pc:docMk/>
            <pc:sldMk cId="687098660" sldId="2147376961"/>
            <ac:spMk id="225" creationId="{44357A5A-8147-2329-1F75-BD3E4EDF5225}"/>
          </ac:spMkLst>
        </pc:spChg>
        <pc:spChg chg="mod">
          <ac:chgData name="Kumpulainen, Teemu (RC-FI DI PA)" userId="9e6db126-282e-46a7-b7b4-e4a6760ecd8a" providerId="ADAL" clId="{69F2DA64-4A59-4EB1-80C9-6C8B92288DA2}" dt="2023-04-04T10:38:05.292" v="1104" actId="790"/>
          <ac:spMkLst>
            <pc:docMk/>
            <pc:sldMk cId="687098660" sldId="2147376961"/>
            <ac:spMk id="228" creationId="{62AE7E63-431B-1196-87FC-71C1B544A3BE}"/>
          </ac:spMkLst>
        </pc:spChg>
        <pc:spChg chg="mod">
          <ac:chgData name="Kumpulainen, Teemu (RC-FI DI PA)" userId="9e6db126-282e-46a7-b7b4-e4a6760ecd8a" providerId="ADAL" clId="{69F2DA64-4A59-4EB1-80C9-6C8B92288DA2}" dt="2023-04-04T10:38:05.293" v="1105" actId="790"/>
          <ac:spMkLst>
            <pc:docMk/>
            <pc:sldMk cId="687098660" sldId="2147376961"/>
            <ac:spMk id="229" creationId="{3C00BEB3-4A9E-5FD2-9225-60F8F0D594B3}"/>
          </ac:spMkLst>
        </pc:spChg>
        <pc:spChg chg="mod">
          <ac:chgData name="Kumpulainen, Teemu (RC-FI DI PA)" userId="9e6db126-282e-46a7-b7b4-e4a6760ecd8a" providerId="ADAL" clId="{69F2DA64-4A59-4EB1-80C9-6C8B92288DA2}" dt="2023-04-04T10:38:05.293" v="1106" actId="790"/>
          <ac:spMkLst>
            <pc:docMk/>
            <pc:sldMk cId="687098660" sldId="2147376961"/>
            <ac:spMk id="231" creationId="{BD84CCC1-0BD0-85B3-B45A-52DCDC6B47F1}"/>
          </ac:spMkLst>
        </pc:spChg>
        <pc:spChg chg="mod">
          <ac:chgData name="Kumpulainen, Teemu (RC-FI DI PA)" userId="9e6db126-282e-46a7-b7b4-e4a6760ecd8a" providerId="ADAL" clId="{69F2DA64-4A59-4EB1-80C9-6C8B92288DA2}" dt="2023-04-04T10:38:05.294" v="1107" actId="790"/>
          <ac:spMkLst>
            <pc:docMk/>
            <pc:sldMk cId="687098660" sldId="2147376961"/>
            <ac:spMk id="232" creationId="{71633BF8-B7A9-FE14-9D91-3443F2557134}"/>
          </ac:spMkLst>
        </pc:spChg>
        <pc:spChg chg="mod">
          <ac:chgData name="Kumpulainen, Teemu (RC-FI DI PA)" userId="9e6db126-282e-46a7-b7b4-e4a6760ecd8a" providerId="ADAL" clId="{69F2DA64-4A59-4EB1-80C9-6C8B92288DA2}" dt="2023-04-04T10:38:05.295" v="1108" actId="790"/>
          <ac:spMkLst>
            <pc:docMk/>
            <pc:sldMk cId="687098660" sldId="2147376961"/>
            <ac:spMk id="233" creationId="{CF91AD85-31A0-83C8-6031-175F37F05409}"/>
          </ac:spMkLst>
        </pc:spChg>
        <pc:spChg chg="mod">
          <ac:chgData name="Kumpulainen, Teemu (RC-FI DI PA)" userId="9e6db126-282e-46a7-b7b4-e4a6760ecd8a" providerId="ADAL" clId="{69F2DA64-4A59-4EB1-80C9-6C8B92288DA2}" dt="2023-04-04T10:38:05.295" v="1109" actId="790"/>
          <ac:spMkLst>
            <pc:docMk/>
            <pc:sldMk cId="687098660" sldId="2147376961"/>
            <ac:spMk id="234" creationId="{D31270AB-B7DB-6169-4637-DE3962DEC61E}"/>
          </ac:spMkLst>
        </pc:spChg>
        <pc:spChg chg="mod">
          <ac:chgData name="Kumpulainen, Teemu (RC-FI DI PA)" userId="9e6db126-282e-46a7-b7b4-e4a6760ecd8a" providerId="ADAL" clId="{69F2DA64-4A59-4EB1-80C9-6C8B92288DA2}" dt="2023-04-04T10:38:05.296" v="1110" actId="790"/>
          <ac:spMkLst>
            <pc:docMk/>
            <pc:sldMk cId="687098660" sldId="2147376961"/>
            <ac:spMk id="235" creationId="{D3D6947D-01B5-0E6A-FD35-86908ED2B866}"/>
          </ac:spMkLst>
        </pc:spChg>
        <pc:spChg chg="mod">
          <ac:chgData name="Kumpulainen, Teemu (RC-FI DI PA)" userId="9e6db126-282e-46a7-b7b4-e4a6760ecd8a" providerId="ADAL" clId="{69F2DA64-4A59-4EB1-80C9-6C8B92288DA2}" dt="2023-04-04T10:38:05.296" v="1111" actId="790"/>
          <ac:spMkLst>
            <pc:docMk/>
            <pc:sldMk cId="687098660" sldId="2147376961"/>
            <ac:spMk id="236" creationId="{AFEFFC01-6F85-1191-3F94-B4C0879BE6CE}"/>
          </ac:spMkLst>
        </pc:spChg>
        <pc:cxnChg chg="mod">
          <ac:chgData name="Kumpulainen, Teemu (RC-FI DI PA)" userId="9e6db126-282e-46a7-b7b4-e4a6760ecd8a" providerId="ADAL" clId="{69F2DA64-4A59-4EB1-80C9-6C8B92288DA2}" dt="2023-04-04T10:38:05.335" v="1169" actId="790"/>
          <ac:cxnSpMkLst>
            <pc:docMk/>
            <pc:sldMk cId="687098660" sldId="2147376961"/>
            <ac:cxnSpMk id="5" creationId="{0B40CBC7-8697-9A91-8F7D-C939256A19C4}"/>
          </ac:cxnSpMkLst>
        </pc:cxnChg>
      </pc:sldChg>
      <pc:sldChg chg="modSp mod modNotes">
        <pc:chgData name="Kumpulainen, Teemu (RC-FI DI PA)" userId="9e6db126-282e-46a7-b7b4-e4a6760ecd8a" providerId="ADAL" clId="{69F2DA64-4A59-4EB1-80C9-6C8B92288DA2}" dt="2023-04-04T10:38:05.679" v="1528" actId="790"/>
        <pc:sldMkLst>
          <pc:docMk/>
          <pc:sldMk cId="598933832" sldId="2147376965"/>
        </pc:sldMkLst>
        <pc:spChg chg="mod">
          <ac:chgData name="Kumpulainen, Teemu (RC-FI DI PA)" userId="9e6db126-282e-46a7-b7b4-e4a6760ecd8a" providerId="ADAL" clId="{69F2DA64-4A59-4EB1-80C9-6C8B92288DA2}" dt="2023-04-04T10:38:05.669" v="1524" actId="790"/>
          <ac:spMkLst>
            <pc:docMk/>
            <pc:sldMk cId="598933832" sldId="2147376965"/>
            <ac:spMk id="2" creationId="{7D86EBFB-CE6A-4758-896A-AAD8E1D08CC8}"/>
          </ac:spMkLst>
        </pc:spChg>
        <pc:spChg chg="mod">
          <ac:chgData name="Kumpulainen, Teemu (RC-FI DI PA)" userId="9e6db126-282e-46a7-b7b4-e4a6760ecd8a" providerId="ADAL" clId="{69F2DA64-4A59-4EB1-80C9-6C8B92288DA2}" dt="2023-04-04T10:38:05.623" v="1523" actId="790"/>
          <ac:spMkLst>
            <pc:docMk/>
            <pc:sldMk cId="598933832" sldId="2147376965"/>
            <ac:spMk id="3" creationId="{A8C0B1B3-7902-4A0F-A274-1F5878B8197A}"/>
          </ac:spMkLst>
        </pc:spChg>
        <pc:spChg chg="mod">
          <ac:chgData name="Kumpulainen, Teemu (RC-FI DI PA)" userId="9e6db126-282e-46a7-b7b4-e4a6760ecd8a" providerId="ADAL" clId="{69F2DA64-4A59-4EB1-80C9-6C8B92288DA2}" dt="2023-04-04T10:38:05.676" v="1525" actId="790"/>
          <ac:spMkLst>
            <pc:docMk/>
            <pc:sldMk cId="598933832" sldId="2147376965"/>
            <ac:spMk id="4" creationId="{DEC03887-CC62-463B-9CCE-729F072DFB79}"/>
          </ac:spMkLst>
        </pc:spChg>
        <pc:spChg chg="mod">
          <ac:chgData name="Kumpulainen, Teemu (RC-FI DI PA)" userId="9e6db126-282e-46a7-b7b4-e4a6760ecd8a" providerId="ADAL" clId="{69F2DA64-4A59-4EB1-80C9-6C8B92288DA2}" dt="2023-04-04T10:38:05.621" v="1522" actId="790"/>
          <ac:spMkLst>
            <pc:docMk/>
            <pc:sldMk cId="598933832" sldId="2147376965"/>
            <ac:spMk id="12" creationId="{EF7BA6B8-2D49-49EE-AA38-401584ACB3E0}"/>
          </ac:spMkLst>
        </pc:spChg>
      </pc:sldChg>
      <pc:sldChg chg="addSp modSp add mod chgLayout modNotes">
        <pc:chgData name="Kumpulainen, Teemu (RC-FI DI PA)" userId="9e6db126-282e-46a7-b7b4-e4a6760ecd8a" providerId="ADAL" clId="{69F2DA64-4A59-4EB1-80C9-6C8B92288DA2}" dt="2023-04-04T11:15:09.247" v="1634" actId="20577"/>
        <pc:sldMkLst>
          <pc:docMk/>
          <pc:sldMk cId="1522644017" sldId="2147376966"/>
        </pc:sldMkLst>
        <pc:spChg chg="mod ord">
          <ac:chgData name="Kumpulainen, Teemu (RC-FI DI PA)" userId="9e6db126-282e-46a7-b7b4-e4a6760ecd8a" providerId="ADAL" clId="{69F2DA64-4A59-4EB1-80C9-6C8B92288DA2}" dt="2023-04-04T11:13:19.365" v="1575" actId="700"/>
          <ac:spMkLst>
            <pc:docMk/>
            <pc:sldMk cId="1522644017" sldId="2147376966"/>
            <ac:spMk id="2" creationId="{1E62BE68-3FAF-4454-A0F1-F2057B935AE8}"/>
          </ac:spMkLst>
        </pc:spChg>
        <pc:spChg chg="mod ord">
          <ac:chgData name="Kumpulainen, Teemu (RC-FI DI PA)" userId="9e6db126-282e-46a7-b7b4-e4a6760ecd8a" providerId="ADAL" clId="{69F2DA64-4A59-4EB1-80C9-6C8B92288DA2}" dt="2023-04-04T11:13:19.365" v="1575" actId="700"/>
          <ac:spMkLst>
            <pc:docMk/>
            <pc:sldMk cId="1522644017" sldId="2147376966"/>
            <ac:spMk id="3" creationId="{951F6185-5E86-49AA-B76B-8548C5179419}"/>
          </ac:spMkLst>
        </pc:spChg>
        <pc:spChg chg="add mod">
          <ac:chgData name="Kumpulainen, Teemu (RC-FI DI PA)" userId="9e6db126-282e-46a7-b7b4-e4a6760ecd8a" providerId="ADAL" clId="{69F2DA64-4A59-4EB1-80C9-6C8B92288DA2}" dt="2023-04-04T11:14:27.311" v="1579" actId="207"/>
          <ac:spMkLst>
            <pc:docMk/>
            <pc:sldMk cId="1522644017" sldId="2147376966"/>
            <ac:spMk id="4" creationId="{3DA898B9-B7D6-A17F-B878-156B9BEA4862}"/>
          </ac:spMkLst>
        </pc:spChg>
        <pc:spChg chg="mod ord">
          <ac:chgData name="Kumpulainen, Teemu (RC-FI DI PA)" userId="9e6db126-282e-46a7-b7b4-e4a6760ecd8a" providerId="ADAL" clId="{69F2DA64-4A59-4EB1-80C9-6C8B92288DA2}" dt="2023-04-04T11:13:19.365" v="1575" actId="700"/>
          <ac:spMkLst>
            <pc:docMk/>
            <pc:sldMk cId="1522644017" sldId="2147376966"/>
            <ac:spMk id="5" creationId="{A54910CC-2F26-4A96-8537-03AF73F5C28B}"/>
          </ac:spMkLst>
        </pc:spChg>
        <pc:spChg chg="mod">
          <ac:chgData name="Kumpulainen, Teemu (RC-FI DI PA)" userId="9e6db126-282e-46a7-b7b4-e4a6760ecd8a" providerId="ADAL" clId="{69F2DA64-4A59-4EB1-80C9-6C8B92288DA2}" dt="2023-04-04T10:38:05.522" v="1418" actId="790"/>
          <ac:spMkLst>
            <pc:docMk/>
            <pc:sldMk cId="1522644017" sldId="2147376966"/>
            <ac:spMk id="10" creationId="{1F6B99DB-411F-43FB-9B80-49E1316411AE}"/>
          </ac:spMkLst>
        </pc:spChg>
        <pc:spChg chg="mod">
          <ac:chgData name="Kumpulainen, Teemu (RC-FI DI PA)" userId="9e6db126-282e-46a7-b7b4-e4a6760ecd8a" providerId="ADAL" clId="{69F2DA64-4A59-4EB1-80C9-6C8B92288DA2}" dt="2023-04-04T10:38:05.523" v="1419" actId="790"/>
          <ac:spMkLst>
            <pc:docMk/>
            <pc:sldMk cId="1522644017" sldId="2147376966"/>
            <ac:spMk id="15" creationId="{69318255-984A-4133-9DEC-6EF19CC3B843}"/>
          </ac:spMkLst>
        </pc:spChg>
        <pc:spChg chg="mod">
          <ac:chgData name="Kumpulainen, Teemu (RC-FI DI PA)" userId="9e6db126-282e-46a7-b7b4-e4a6760ecd8a" providerId="ADAL" clId="{69F2DA64-4A59-4EB1-80C9-6C8B92288DA2}" dt="2023-04-04T10:38:05.513" v="1408" actId="790"/>
          <ac:spMkLst>
            <pc:docMk/>
            <pc:sldMk cId="1522644017" sldId="2147376966"/>
            <ac:spMk id="17" creationId="{4C47804D-64B7-4334-BB4F-C7E53F553695}"/>
          </ac:spMkLst>
        </pc:spChg>
        <pc:graphicFrameChg chg="modGraphic">
          <ac:chgData name="Kumpulainen, Teemu (RC-FI DI PA)" userId="9e6db126-282e-46a7-b7b4-e4a6760ecd8a" providerId="ADAL" clId="{69F2DA64-4A59-4EB1-80C9-6C8B92288DA2}" dt="2023-04-04T11:15:09.247" v="1634" actId="20577"/>
          <ac:graphicFrameMkLst>
            <pc:docMk/>
            <pc:sldMk cId="1522644017" sldId="2147376966"/>
            <ac:graphicFrameMk id="6" creationId="{31DEC2E6-1C1A-4A15-9F45-1EF9D66490E0}"/>
          </ac:graphicFrameMkLst>
        </pc:graphicFrameChg>
      </pc:sldChg>
      <pc:sldChg chg="addSp delSp modSp add mod chgLayout modNotes">
        <pc:chgData name="Kumpulainen, Teemu (RC-FI DI PA)" userId="9e6db126-282e-46a7-b7b4-e4a6760ecd8a" providerId="ADAL" clId="{69F2DA64-4A59-4EB1-80C9-6C8B92288DA2}" dt="2023-04-14T10:30:14.771" v="2605" actId="6549"/>
        <pc:sldMkLst>
          <pc:docMk/>
          <pc:sldMk cId="780559541" sldId="2147376967"/>
        </pc:sldMkLst>
        <pc:spChg chg="mod ord">
          <ac:chgData name="Kumpulainen, Teemu (RC-FI DI PA)" userId="9e6db126-282e-46a7-b7b4-e4a6760ecd8a" providerId="ADAL" clId="{69F2DA64-4A59-4EB1-80C9-6C8B92288DA2}" dt="2023-04-04T11:13:28.158" v="1576" actId="700"/>
          <ac:spMkLst>
            <pc:docMk/>
            <pc:sldMk cId="780559541" sldId="2147376967"/>
            <ac:spMk id="2" creationId="{1E62BE68-3FAF-4454-A0F1-F2057B935AE8}"/>
          </ac:spMkLst>
        </pc:spChg>
        <pc:spChg chg="mod ord">
          <ac:chgData name="Kumpulainen, Teemu (RC-FI DI PA)" userId="9e6db126-282e-46a7-b7b4-e4a6760ecd8a" providerId="ADAL" clId="{69F2DA64-4A59-4EB1-80C9-6C8B92288DA2}" dt="2023-04-04T11:13:28.158" v="1576" actId="700"/>
          <ac:spMkLst>
            <pc:docMk/>
            <pc:sldMk cId="780559541" sldId="2147376967"/>
            <ac:spMk id="3" creationId="{951F6185-5E86-49AA-B76B-8548C5179419}"/>
          </ac:spMkLst>
        </pc:spChg>
        <pc:spChg chg="mod ord">
          <ac:chgData name="Kumpulainen, Teemu (RC-FI DI PA)" userId="9e6db126-282e-46a7-b7b4-e4a6760ecd8a" providerId="ADAL" clId="{69F2DA64-4A59-4EB1-80C9-6C8B92288DA2}" dt="2023-04-06T09:40:57.307" v="2325" actId="20577"/>
          <ac:spMkLst>
            <pc:docMk/>
            <pc:sldMk cId="780559541" sldId="2147376967"/>
            <ac:spMk id="5" creationId="{A54910CC-2F26-4A96-8537-03AF73F5C28B}"/>
          </ac:spMkLst>
        </pc:spChg>
        <pc:spChg chg="add mod">
          <ac:chgData name="Kumpulainen, Teemu (RC-FI DI PA)" userId="9e6db126-282e-46a7-b7b4-e4a6760ecd8a" providerId="ADAL" clId="{69F2DA64-4A59-4EB1-80C9-6C8B92288DA2}" dt="2023-04-04T10:38:05.562" v="1468" actId="790"/>
          <ac:spMkLst>
            <pc:docMk/>
            <pc:sldMk cId="780559541" sldId="2147376967"/>
            <ac:spMk id="8" creationId="{F1BCC00D-89A9-869E-89B6-D62C54921A03}"/>
          </ac:spMkLst>
        </pc:spChg>
        <pc:spChg chg="del mod">
          <ac:chgData name="Kumpulainen, Teemu (RC-FI DI PA)" userId="9e6db126-282e-46a7-b7b4-e4a6760ecd8a" providerId="ADAL" clId="{69F2DA64-4A59-4EB1-80C9-6C8B92288DA2}" dt="2023-04-06T09:45:20.214" v="2601" actId="478"/>
          <ac:spMkLst>
            <pc:docMk/>
            <pc:sldMk cId="780559541" sldId="2147376967"/>
            <ac:spMk id="10" creationId="{1F6B99DB-411F-43FB-9B80-49E1316411AE}"/>
          </ac:spMkLst>
        </pc:spChg>
        <pc:spChg chg="add del mod">
          <ac:chgData name="Kumpulainen, Teemu (RC-FI DI PA)" userId="9e6db126-282e-46a7-b7b4-e4a6760ecd8a" providerId="ADAL" clId="{69F2DA64-4A59-4EB1-80C9-6C8B92288DA2}" dt="2023-04-06T09:45:59.490" v="2604" actId="478"/>
          <ac:spMkLst>
            <pc:docMk/>
            <pc:sldMk cId="780559541" sldId="2147376967"/>
            <ac:spMk id="12" creationId="{8A1B029E-1621-C03A-8DA3-E5F242E2D112}"/>
          </ac:spMkLst>
        </pc:spChg>
        <pc:spChg chg="mod">
          <ac:chgData name="Kumpulainen, Teemu (RC-FI DI PA)" userId="9e6db126-282e-46a7-b7b4-e4a6760ecd8a" providerId="ADAL" clId="{69F2DA64-4A59-4EB1-80C9-6C8B92288DA2}" dt="2023-04-04T10:38:05.561" v="1467" actId="790"/>
          <ac:spMkLst>
            <pc:docMk/>
            <pc:sldMk cId="780559541" sldId="2147376967"/>
            <ac:spMk id="15" creationId="{69318255-984A-4133-9DEC-6EF19CC3B843}"/>
          </ac:spMkLst>
        </pc:spChg>
        <pc:spChg chg="mod">
          <ac:chgData name="Kumpulainen, Teemu (RC-FI DI PA)" userId="9e6db126-282e-46a7-b7b4-e4a6760ecd8a" providerId="ADAL" clId="{69F2DA64-4A59-4EB1-80C9-6C8B92288DA2}" dt="2023-04-04T10:38:05.552" v="1456" actId="790"/>
          <ac:spMkLst>
            <pc:docMk/>
            <pc:sldMk cId="780559541" sldId="2147376967"/>
            <ac:spMk id="17" creationId="{4C47804D-64B7-4334-BB4F-C7E53F553695}"/>
          </ac:spMkLst>
        </pc:spChg>
        <pc:spChg chg="add mod">
          <ac:chgData name="Kumpulainen, Teemu (RC-FI DI PA)" userId="9e6db126-282e-46a7-b7b4-e4a6760ecd8a" providerId="ADAL" clId="{69F2DA64-4A59-4EB1-80C9-6C8B92288DA2}" dt="2023-04-04T11:16:27.835" v="1639" actId="207"/>
          <ac:spMkLst>
            <pc:docMk/>
            <pc:sldMk cId="780559541" sldId="2147376967"/>
            <ac:spMk id="19" creationId="{C8CE24FA-DE3A-0F03-B941-4591810C8058}"/>
          </ac:spMkLst>
        </pc:spChg>
        <pc:spChg chg="add mod">
          <ac:chgData name="Kumpulainen, Teemu (RC-FI DI PA)" userId="9e6db126-282e-46a7-b7b4-e4a6760ecd8a" providerId="ADAL" clId="{69F2DA64-4A59-4EB1-80C9-6C8B92288DA2}" dt="2023-04-06T09:45:35.382" v="2602" actId="208"/>
          <ac:spMkLst>
            <pc:docMk/>
            <pc:sldMk cId="780559541" sldId="2147376967"/>
            <ac:spMk id="47" creationId="{6DBAE583-BB4C-4134-FE95-33387F3C8151}"/>
          </ac:spMkLst>
        </pc:spChg>
        <pc:spChg chg="add mod">
          <ac:chgData name="Kumpulainen, Teemu (RC-FI DI PA)" userId="9e6db126-282e-46a7-b7b4-e4a6760ecd8a" providerId="ADAL" clId="{69F2DA64-4A59-4EB1-80C9-6C8B92288DA2}" dt="2023-04-04T11:16:24.030" v="1638" actId="207"/>
          <ac:spMkLst>
            <pc:docMk/>
            <pc:sldMk cId="780559541" sldId="2147376967"/>
            <ac:spMk id="48" creationId="{5AF92173-7C9A-6038-7068-251E80A51830}"/>
          </ac:spMkLst>
        </pc:spChg>
        <pc:spChg chg="add mod">
          <ac:chgData name="Kumpulainen, Teemu (RC-FI DI PA)" userId="9e6db126-282e-46a7-b7b4-e4a6760ecd8a" providerId="ADAL" clId="{69F2DA64-4A59-4EB1-80C9-6C8B92288DA2}" dt="2023-04-04T10:38:05.565" v="1473" actId="790"/>
          <ac:spMkLst>
            <pc:docMk/>
            <pc:sldMk cId="780559541" sldId="2147376967"/>
            <ac:spMk id="49" creationId="{DDDEECA6-71AE-E524-C383-3D6D638EAA57}"/>
          </ac:spMkLst>
        </pc:spChg>
        <pc:spChg chg="add mod">
          <ac:chgData name="Kumpulainen, Teemu (RC-FI DI PA)" userId="9e6db126-282e-46a7-b7b4-e4a6760ecd8a" providerId="ADAL" clId="{69F2DA64-4A59-4EB1-80C9-6C8B92288DA2}" dt="2023-04-04T11:16:24.030" v="1638" actId="207"/>
          <ac:spMkLst>
            <pc:docMk/>
            <pc:sldMk cId="780559541" sldId="2147376967"/>
            <ac:spMk id="50" creationId="{B584E2A7-51C5-B000-F460-D8971044BC7E}"/>
          </ac:spMkLst>
        </pc:spChg>
        <pc:spChg chg="add del mod">
          <ac:chgData name="Kumpulainen, Teemu (RC-FI DI PA)" userId="9e6db126-282e-46a7-b7b4-e4a6760ecd8a" providerId="ADAL" clId="{69F2DA64-4A59-4EB1-80C9-6C8B92288DA2}" dt="2023-04-06T09:45:17.894" v="2600" actId="478"/>
          <ac:spMkLst>
            <pc:docMk/>
            <pc:sldMk cId="780559541" sldId="2147376967"/>
            <ac:spMk id="52" creationId="{8ED059F3-509C-371F-78F2-8E185495EEAA}"/>
          </ac:spMkLst>
        </pc:spChg>
        <pc:grpChg chg="add mod">
          <ac:chgData name="Kumpulainen, Teemu (RC-FI DI PA)" userId="9e6db126-282e-46a7-b7b4-e4a6760ecd8a" providerId="ADAL" clId="{69F2DA64-4A59-4EB1-80C9-6C8B92288DA2}" dt="2023-04-04T09:11:40.981" v="64" actId="164"/>
          <ac:grpSpMkLst>
            <pc:docMk/>
            <pc:sldMk cId="780559541" sldId="2147376967"/>
            <ac:grpSpMk id="9" creationId="{6729F9E7-E8B4-1672-F0B3-ABB4773BEBAC}"/>
          </ac:grpSpMkLst>
        </pc:grpChg>
        <pc:grpChg chg="add mod">
          <ac:chgData name="Kumpulainen, Teemu (RC-FI DI PA)" userId="9e6db126-282e-46a7-b7b4-e4a6760ecd8a" providerId="ADAL" clId="{69F2DA64-4A59-4EB1-80C9-6C8B92288DA2}" dt="2023-04-04T10:27:50.465" v="461" actId="1036"/>
          <ac:grpSpMkLst>
            <pc:docMk/>
            <pc:sldMk cId="780559541" sldId="2147376967"/>
            <ac:grpSpMk id="11" creationId="{7368E36E-AA12-9CA6-9D52-9699F482FDD3}"/>
          </ac:grpSpMkLst>
        </pc:grpChg>
        <pc:grpChg chg="add mod">
          <ac:chgData name="Kumpulainen, Teemu (RC-FI DI PA)" userId="9e6db126-282e-46a7-b7b4-e4a6760ecd8a" providerId="ADAL" clId="{69F2DA64-4A59-4EB1-80C9-6C8B92288DA2}" dt="2023-04-04T10:32:04.889" v="560" actId="1076"/>
          <ac:grpSpMkLst>
            <pc:docMk/>
            <pc:sldMk cId="780559541" sldId="2147376967"/>
            <ac:grpSpMk id="51" creationId="{AFD4009D-F64B-2BF2-A645-B576AFFADCD4}"/>
          </ac:grpSpMkLst>
        </pc:grpChg>
        <pc:graphicFrameChg chg="mod modGraphic">
          <ac:chgData name="Kumpulainen, Teemu (RC-FI DI PA)" userId="9e6db126-282e-46a7-b7b4-e4a6760ecd8a" providerId="ADAL" clId="{69F2DA64-4A59-4EB1-80C9-6C8B92288DA2}" dt="2023-04-14T10:30:14.771" v="2605" actId="6549"/>
          <ac:graphicFrameMkLst>
            <pc:docMk/>
            <pc:sldMk cId="780559541" sldId="2147376967"/>
            <ac:graphicFrameMk id="6" creationId="{31DEC2E6-1C1A-4A15-9F45-1EF9D66490E0}"/>
          </ac:graphicFrameMkLst>
        </pc:graphicFrameChg>
        <pc:picChg chg="add mod ord">
          <ac:chgData name="Kumpulainen, Teemu (RC-FI DI PA)" userId="9e6db126-282e-46a7-b7b4-e4a6760ecd8a" providerId="ADAL" clId="{69F2DA64-4A59-4EB1-80C9-6C8B92288DA2}" dt="2023-04-04T09:12:02.955" v="69" actId="1076"/>
          <ac:picMkLst>
            <pc:docMk/>
            <pc:sldMk cId="780559541" sldId="2147376967"/>
            <ac:picMk id="7" creationId="{15E01F10-8B8A-C5E4-FD8F-E933304A8EC0}"/>
          </ac:picMkLst>
        </pc:picChg>
        <pc:picChg chg="add mod">
          <ac:chgData name="Kumpulainen, Teemu (RC-FI DI PA)" userId="9e6db126-282e-46a7-b7b4-e4a6760ecd8a" providerId="ADAL" clId="{69F2DA64-4A59-4EB1-80C9-6C8B92288DA2}" dt="2023-04-04T10:23:34.274" v="388" actId="1076"/>
          <ac:picMkLst>
            <pc:docMk/>
            <pc:sldMk cId="780559541" sldId="2147376967"/>
            <ac:picMk id="14" creationId="{9BE5C07F-B9E8-E588-E5EB-5EF252CDB807}"/>
          </ac:picMkLst>
        </pc:picChg>
        <pc:picChg chg="add del mod">
          <ac:chgData name="Kumpulainen, Teemu (RC-FI DI PA)" userId="9e6db126-282e-46a7-b7b4-e4a6760ecd8a" providerId="ADAL" clId="{69F2DA64-4A59-4EB1-80C9-6C8B92288DA2}" dt="2023-04-04T10:23:19.631" v="387" actId="478"/>
          <ac:picMkLst>
            <pc:docMk/>
            <pc:sldMk cId="780559541" sldId="2147376967"/>
            <ac:picMk id="18" creationId="{3ACA9799-3102-2C46-4DCE-97D8FFC05AD2}"/>
          </ac:picMkLst>
        </pc:picChg>
        <pc:picChg chg="mod">
          <ac:chgData name="Kumpulainen, Teemu (RC-FI DI PA)" userId="9e6db126-282e-46a7-b7b4-e4a6760ecd8a" providerId="ADAL" clId="{69F2DA64-4A59-4EB1-80C9-6C8B92288DA2}" dt="2023-04-04T09:11:49.978" v="66" actId="164"/>
          <ac:picMkLst>
            <pc:docMk/>
            <pc:sldMk cId="780559541" sldId="2147376967"/>
            <ac:picMk id="26" creationId="{480CF8BA-452F-5B56-45A3-BD9C8E957DD1}"/>
          </ac:picMkLst>
        </pc:picChg>
        <pc:cxnChg chg="add mod">
          <ac:chgData name="Kumpulainen, Teemu (RC-FI DI PA)" userId="9e6db126-282e-46a7-b7b4-e4a6760ecd8a" providerId="ADAL" clId="{69F2DA64-4A59-4EB1-80C9-6C8B92288DA2}" dt="2023-04-04T10:28:58.061" v="504" actId="693"/>
          <ac:cxnSpMkLst>
            <pc:docMk/>
            <pc:sldMk cId="780559541" sldId="2147376967"/>
            <ac:cxnSpMk id="21" creationId="{944E1EE9-8B89-A3A0-37A9-95A1A643D471}"/>
          </ac:cxnSpMkLst>
        </pc:cxnChg>
        <pc:cxnChg chg="add mod">
          <ac:chgData name="Kumpulainen, Teemu (RC-FI DI PA)" userId="9e6db126-282e-46a7-b7b4-e4a6760ecd8a" providerId="ADAL" clId="{69F2DA64-4A59-4EB1-80C9-6C8B92288DA2}" dt="2023-04-04T10:28:58.061" v="504" actId="693"/>
          <ac:cxnSpMkLst>
            <pc:docMk/>
            <pc:sldMk cId="780559541" sldId="2147376967"/>
            <ac:cxnSpMk id="27" creationId="{8B8DAD82-46F3-490D-7ADA-E517CA873B83}"/>
          </ac:cxnSpMkLst>
        </pc:cxnChg>
        <pc:cxnChg chg="add mod">
          <ac:chgData name="Kumpulainen, Teemu (RC-FI DI PA)" userId="9e6db126-282e-46a7-b7b4-e4a6760ecd8a" providerId="ADAL" clId="{69F2DA64-4A59-4EB1-80C9-6C8B92288DA2}" dt="2023-04-04T10:28:58.061" v="504" actId="693"/>
          <ac:cxnSpMkLst>
            <pc:docMk/>
            <pc:sldMk cId="780559541" sldId="2147376967"/>
            <ac:cxnSpMk id="30" creationId="{ACF8C592-00ED-778A-3B0F-F6FC1380A54B}"/>
          </ac:cxnSpMkLst>
        </pc:cxnChg>
        <pc:cxnChg chg="add del mod">
          <ac:chgData name="Kumpulainen, Teemu (RC-FI DI PA)" userId="9e6db126-282e-46a7-b7b4-e4a6760ecd8a" providerId="ADAL" clId="{69F2DA64-4A59-4EB1-80C9-6C8B92288DA2}" dt="2023-04-04T10:28:25.122" v="502" actId="478"/>
          <ac:cxnSpMkLst>
            <pc:docMk/>
            <pc:sldMk cId="780559541" sldId="2147376967"/>
            <ac:cxnSpMk id="32" creationId="{C7C79641-3CA2-B825-FB21-0B54B784C9BB}"/>
          </ac:cxnSpMkLst>
        </pc:cxnChg>
        <pc:cxnChg chg="add mod">
          <ac:chgData name="Kumpulainen, Teemu (RC-FI DI PA)" userId="9e6db126-282e-46a7-b7b4-e4a6760ecd8a" providerId="ADAL" clId="{69F2DA64-4A59-4EB1-80C9-6C8B92288DA2}" dt="2023-04-04T10:28:58.061" v="504" actId="693"/>
          <ac:cxnSpMkLst>
            <pc:docMk/>
            <pc:sldMk cId="780559541" sldId="2147376967"/>
            <ac:cxnSpMk id="35" creationId="{C7DBEAD0-A290-0257-51F3-AE4B9D3B102F}"/>
          </ac:cxnSpMkLst>
        </pc:cxnChg>
        <pc:cxnChg chg="add mod">
          <ac:chgData name="Kumpulainen, Teemu (RC-FI DI PA)" userId="9e6db126-282e-46a7-b7b4-e4a6760ecd8a" providerId="ADAL" clId="{69F2DA64-4A59-4EB1-80C9-6C8B92288DA2}" dt="2023-04-04T10:31:59.389" v="559" actId="164"/>
          <ac:cxnSpMkLst>
            <pc:docMk/>
            <pc:sldMk cId="780559541" sldId="2147376967"/>
            <ac:cxnSpMk id="43" creationId="{4F391873-6B40-B2AF-FAC7-090789AEF5E5}"/>
          </ac:cxnSpMkLst>
        </pc:cxnChg>
      </pc:sldChg>
      <pc:sldChg chg="addSp delSp modSp add mod chgLayout modNotes">
        <pc:chgData name="Kumpulainen, Teemu (RC-FI DI PA)" userId="9e6db126-282e-46a7-b7b4-e4a6760ecd8a" providerId="ADAL" clId="{69F2DA64-4A59-4EB1-80C9-6C8B92288DA2}" dt="2023-04-06T09:39:52.034" v="2231" actId="478"/>
        <pc:sldMkLst>
          <pc:docMk/>
          <pc:sldMk cId="1494101766" sldId="2147376968"/>
        </pc:sldMkLst>
        <pc:spChg chg="mod ord">
          <ac:chgData name="Kumpulainen, Teemu (RC-FI DI PA)" userId="9e6db126-282e-46a7-b7b4-e4a6760ecd8a" providerId="ADAL" clId="{69F2DA64-4A59-4EB1-80C9-6C8B92288DA2}" dt="2023-04-04T11:13:28.158" v="1576" actId="700"/>
          <ac:spMkLst>
            <pc:docMk/>
            <pc:sldMk cId="1494101766" sldId="2147376968"/>
            <ac:spMk id="2" creationId="{1E62BE68-3FAF-4454-A0F1-F2057B935AE8}"/>
          </ac:spMkLst>
        </pc:spChg>
        <pc:spChg chg="mod ord">
          <ac:chgData name="Kumpulainen, Teemu (RC-FI DI PA)" userId="9e6db126-282e-46a7-b7b4-e4a6760ecd8a" providerId="ADAL" clId="{69F2DA64-4A59-4EB1-80C9-6C8B92288DA2}" dt="2023-04-04T11:13:28.158" v="1576" actId="700"/>
          <ac:spMkLst>
            <pc:docMk/>
            <pc:sldMk cId="1494101766" sldId="2147376968"/>
            <ac:spMk id="3" creationId="{951F6185-5E86-49AA-B76B-8548C5179419}"/>
          </ac:spMkLst>
        </pc:spChg>
        <pc:spChg chg="mod ord">
          <ac:chgData name="Kumpulainen, Teemu (RC-FI DI PA)" userId="9e6db126-282e-46a7-b7b4-e4a6760ecd8a" providerId="ADAL" clId="{69F2DA64-4A59-4EB1-80C9-6C8B92288DA2}" dt="2023-04-06T09:39:10.633" v="2223" actId="20577"/>
          <ac:spMkLst>
            <pc:docMk/>
            <pc:sldMk cId="1494101766" sldId="2147376968"/>
            <ac:spMk id="5" creationId="{A54910CC-2F26-4A96-8537-03AF73F5C28B}"/>
          </ac:spMkLst>
        </pc:spChg>
        <pc:spChg chg="add mod ord">
          <ac:chgData name="Kumpulainen, Teemu (RC-FI DI PA)" userId="9e6db126-282e-46a7-b7b4-e4a6760ecd8a" providerId="ADAL" clId="{69F2DA64-4A59-4EB1-80C9-6C8B92288DA2}" dt="2023-04-06T09:39:41.001" v="2229" actId="404"/>
          <ac:spMkLst>
            <pc:docMk/>
            <pc:sldMk cId="1494101766" sldId="2147376968"/>
            <ac:spMk id="8" creationId="{9C932309-EF44-2D7D-AFCB-38EBD98254BD}"/>
          </ac:spMkLst>
        </pc:spChg>
        <pc:spChg chg="add mod">
          <ac:chgData name="Kumpulainen, Teemu (RC-FI DI PA)" userId="9e6db126-282e-46a7-b7b4-e4a6760ecd8a" providerId="ADAL" clId="{69F2DA64-4A59-4EB1-80C9-6C8B92288DA2}" dt="2023-04-06T09:39:41.001" v="2229" actId="404"/>
          <ac:spMkLst>
            <pc:docMk/>
            <pc:sldMk cId="1494101766" sldId="2147376968"/>
            <ac:spMk id="9" creationId="{F1C1C7C5-EBF2-BD93-F503-5723AB2154B6}"/>
          </ac:spMkLst>
        </pc:spChg>
        <pc:spChg chg="del mod">
          <ac:chgData name="Kumpulainen, Teemu (RC-FI DI PA)" userId="9e6db126-282e-46a7-b7b4-e4a6760ecd8a" providerId="ADAL" clId="{69F2DA64-4A59-4EB1-80C9-6C8B92288DA2}" dt="2023-04-06T09:37:27.011" v="2069" actId="478"/>
          <ac:spMkLst>
            <pc:docMk/>
            <pc:sldMk cId="1494101766" sldId="2147376968"/>
            <ac:spMk id="10" creationId="{1F6B99DB-411F-43FB-9B80-49E1316411AE}"/>
          </ac:spMkLst>
        </pc:spChg>
        <pc:spChg chg="add mod">
          <ac:chgData name="Kumpulainen, Teemu (RC-FI DI PA)" userId="9e6db126-282e-46a7-b7b4-e4a6760ecd8a" providerId="ADAL" clId="{69F2DA64-4A59-4EB1-80C9-6C8B92288DA2}" dt="2023-04-06T09:39:41.001" v="2229" actId="404"/>
          <ac:spMkLst>
            <pc:docMk/>
            <pc:sldMk cId="1494101766" sldId="2147376968"/>
            <ac:spMk id="11" creationId="{4F5A99DD-6C25-9109-E2DC-AC964B598514}"/>
          </ac:spMkLst>
        </pc:spChg>
        <pc:spChg chg="add mod ord">
          <ac:chgData name="Kumpulainen, Teemu (RC-FI DI PA)" userId="9e6db126-282e-46a7-b7b4-e4a6760ecd8a" providerId="ADAL" clId="{69F2DA64-4A59-4EB1-80C9-6C8B92288DA2}" dt="2023-04-06T09:39:41.001" v="2229" actId="404"/>
          <ac:spMkLst>
            <pc:docMk/>
            <pc:sldMk cId="1494101766" sldId="2147376968"/>
            <ac:spMk id="14" creationId="{6FA0EBEF-835D-C7D6-704B-B86204A0F483}"/>
          </ac:spMkLst>
        </pc:spChg>
        <pc:spChg chg="del">
          <ac:chgData name="Kumpulainen, Teemu (RC-FI DI PA)" userId="9e6db126-282e-46a7-b7b4-e4a6760ecd8a" providerId="ADAL" clId="{69F2DA64-4A59-4EB1-80C9-6C8B92288DA2}" dt="2023-04-04T09:37:59.915" v="356" actId="478"/>
          <ac:spMkLst>
            <pc:docMk/>
            <pc:sldMk cId="1494101766" sldId="2147376968"/>
            <ac:spMk id="15" creationId="{69318255-984A-4133-9DEC-6EF19CC3B843}"/>
          </ac:spMkLst>
        </pc:spChg>
        <pc:spChg chg="mod">
          <ac:chgData name="Kumpulainen, Teemu (RC-FI DI PA)" userId="9e6db126-282e-46a7-b7b4-e4a6760ecd8a" providerId="ADAL" clId="{69F2DA64-4A59-4EB1-80C9-6C8B92288DA2}" dt="2023-04-06T09:39:41.001" v="2229" actId="404"/>
          <ac:spMkLst>
            <pc:docMk/>
            <pc:sldMk cId="1494101766" sldId="2147376968"/>
            <ac:spMk id="17" creationId="{4C47804D-64B7-4334-BB4F-C7E53F553695}"/>
          </ac:spMkLst>
        </pc:spChg>
        <pc:spChg chg="add mod">
          <ac:chgData name="Kumpulainen, Teemu (RC-FI DI PA)" userId="9e6db126-282e-46a7-b7b4-e4a6760ecd8a" providerId="ADAL" clId="{69F2DA64-4A59-4EB1-80C9-6C8B92288DA2}" dt="2023-04-06T09:39:41.001" v="2229" actId="404"/>
          <ac:spMkLst>
            <pc:docMk/>
            <pc:sldMk cId="1494101766" sldId="2147376968"/>
            <ac:spMk id="40" creationId="{5EAB539E-8AAF-96C8-E456-FC0358B3A6AC}"/>
          </ac:spMkLst>
        </pc:spChg>
        <pc:spChg chg="add mod">
          <ac:chgData name="Kumpulainen, Teemu (RC-FI DI PA)" userId="9e6db126-282e-46a7-b7b4-e4a6760ecd8a" providerId="ADAL" clId="{69F2DA64-4A59-4EB1-80C9-6C8B92288DA2}" dt="2023-04-06T09:39:41.001" v="2229" actId="404"/>
          <ac:spMkLst>
            <pc:docMk/>
            <pc:sldMk cId="1494101766" sldId="2147376968"/>
            <ac:spMk id="50" creationId="{06FE06CF-2793-A422-454E-05B5F3923E91}"/>
          </ac:spMkLst>
        </pc:spChg>
        <pc:spChg chg="add mod">
          <ac:chgData name="Kumpulainen, Teemu (RC-FI DI PA)" userId="9e6db126-282e-46a7-b7b4-e4a6760ecd8a" providerId="ADAL" clId="{69F2DA64-4A59-4EB1-80C9-6C8B92288DA2}" dt="2023-04-06T09:39:41.001" v="2229" actId="404"/>
          <ac:spMkLst>
            <pc:docMk/>
            <pc:sldMk cId="1494101766" sldId="2147376968"/>
            <ac:spMk id="51" creationId="{85A64FDC-AF64-DB43-D466-0C346168AECD}"/>
          </ac:spMkLst>
        </pc:spChg>
        <pc:spChg chg="add mod">
          <ac:chgData name="Kumpulainen, Teemu (RC-FI DI PA)" userId="9e6db126-282e-46a7-b7b4-e4a6760ecd8a" providerId="ADAL" clId="{69F2DA64-4A59-4EB1-80C9-6C8B92288DA2}" dt="2023-04-06T09:39:41.001" v="2229" actId="404"/>
          <ac:spMkLst>
            <pc:docMk/>
            <pc:sldMk cId="1494101766" sldId="2147376968"/>
            <ac:spMk id="52" creationId="{8E9B4A23-9961-FC94-3082-521DC521E00E}"/>
          </ac:spMkLst>
        </pc:spChg>
        <pc:spChg chg="add mod">
          <ac:chgData name="Kumpulainen, Teemu (RC-FI DI PA)" userId="9e6db126-282e-46a7-b7b4-e4a6760ecd8a" providerId="ADAL" clId="{69F2DA64-4A59-4EB1-80C9-6C8B92288DA2}" dt="2023-04-06T09:39:41.001" v="2229" actId="404"/>
          <ac:spMkLst>
            <pc:docMk/>
            <pc:sldMk cId="1494101766" sldId="2147376968"/>
            <ac:spMk id="53" creationId="{CB795B5E-2BB1-859A-7998-3B45F5890085}"/>
          </ac:spMkLst>
        </pc:spChg>
        <pc:spChg chg="add mod">
          <ac:chgData name="Kumpulainen, Teemu (RC-FI DI PA)" userId="9e6db126-282e-46a7-b7b4-e4a6760ecd8a" providerId="ADAL" clId="{69F2DA64-4A59-4EB1-80C9-6C8B92288DA2}" dt="2023-04-06T09:39:41.001" v="2229" actId="404"/>
          <ac:spMkLst>
            <pc:docMk/>
            <pc:sldMk cId="1494101766" sldId="2147376968"/>
            <ac:spMk id="55" creationId="{82F09144-7B33-9874-6011-07B7FCC1DC30}"/>
          </ac:spMkLst>
        </pc:spChg>
        <pc:spChg chg="add del mod">
          <ac:chgData name="Kumpulainen, Teemu (RC-FI DI PA)" userId="9e6db126-282e-46a7-b7b4-e4a6760ecd8a" providerId="ADAL" clId="{69F2DA64-4A59-4EB1-80C9-6C8B92288DA2}" dt="2023-04-04T09:38:15.994" v="357" actId="478"/>
          <ac:spMkLst>
            <pc:docMk/>
            <pc:sldMk cId="1494101766" sldId="2147376968"/>
            <ac:spMk id="56" creationId="{C2D2CFD9-A8CE-F652-CB55-384AC0DBFEBD}"/>
          </ac:spMkLst>
        </pc:spChg>
        <pc:spChg chg="add mod">
          <ac:chgData name="Kumpulainen, Teemu (RC-FI DI PA)" userId="9e6db126-282e-46a7-b7b4-e4a6760ecd8a" providerId="ADAL" clId="{69F2DA64-4A59-4EB1-80C9-6C8B92288DA2}" dt="2023-04-06T09:39:41.001" v="2229" actId="404"/>
          <ac:spMkLst>
            <pc:docMk/>
            <pc:sldMk cId="1494101766" sldId="2147376968"/>
            <ac:spMk id="57" creationId="{FF6AE0C0-96C0-6D29-1A9A-A9E2221E3513}"/>
          </ac:spMkLst>
        </pc:spChg>
        <pc:spChg chg="add mod">
          <ac:chgData name="Kumpulainen, Teemu (RC-FI DI PA)" userId="9e6db126-282e-46a7-b7b4-e4a6760ecd8a" providerId="ADAL" clId="{69F2DA64-4A59-4EB1-80C9-6C8B92288DA2}" dt="2023-04-06T09:39:41.001" v="2229" actId="404"/>
          <ac:spMkLst>
            <pc:docMk/>
            <pc:sldMk cId="1494101766" sldId="2147376968"/>
            <ac:spMk id="58" creationId="{34B95DAD-7EF2-C137-A259-7708BB6DD124}"/>
          </ac:spMkLst>
        </pc:spChg>
        <pc:spChg chg="add mod">
          <ac:chgData name="Kumpulainen, Teemu (RC-FI DI PA)" userId="9e6db126-282e-46a7-b7b4-e4a6760ecd8a" providerId="ADAL" clId="{69F2DA64-4A59-4EB1-80C9-6C8B92288DA2}" dt="2023-04-06T09:39:41.001" v="2229" actId="404"/>
          <ac:spMkLst>
            <pc:docMk/>
            <pc:sldMk cId="1494101766" sldId="2147376968"/>
            <ac:spMk id="59" creationId="{5772914A-4735-2451-CA3E-2BC6A6811B0B}"/>
          </ac:spMkLst>
        </pc:spChg>
        <pc:spChg chg="add mod">
          <ac:chgData name="Kumpulainen, Teemu (RC-FI DI PA)" userId="9e6db126-282e-46a7-b7b4-e4a6760ecd8a" providerId="ADAL" clId="{69F2DA64-4A59-4EB1-80C9-6C8B92288DA2}" dt="2023-04-06T09:39:41.001" v="2229" actId="404"/>
          <ac:spMkLst>
            <pc:docMk/>
            <pc:sldMk cId="1494101766" sldId="2147376968"/>
            <ac:spMk id="60" creationId="{6BFF9ED9-F83A-FD93-4CF9-2C8CF149012A}"/>
          </ac:spMkLst>
        </pc:spChg>
        <pc:spChg chg="add del mod">
          <ac:chgData name="Kumpulainen, Teemu (RC-FI DI PA)" userId="9e6db126-282e-46a7-b7b4-e4a6760ecd8a" providerId="ADAL" clId="{69F2DA64-4A59-4EB1-80C9-6C8B92288DA2}" dt="2023-04-06T09:39:52.034" v="2231" actId="478"/>
          <ac:spMkLst>
            <pc:docMk/>
            <pc:sldMk cId="1494101766" sldId="2147376968"/>
            <ac:spMk id="61" creationId="{CA6964B9-EB9A-0B54-D0AC-804632DA9DA2}"/>
          </ac:spMkLst>
        </pc:spChg>
        <pc:spChg chg="add mod">
          <ac:chgData name="Kumpulainen, Teemu (RC-FI DI PA)" userId="9e6db126-282e-46a7-b7b4-e4a6760ecd8a" providerId="ADAL" clId="{69F2DA64-4A59-4EB1-80C9-6C8B92288DA2}" dt="2023-04-06T09:39:46.868" v="2230" actId="164"/>
          <ac:spMkLst>
            <pc:docMk/>
            <pc:sldMk cId="1494101766" sldId="2147376968"/>
            <ac:spMk id="65" creationId="{ABC2E461-1EAA-0DDD-D778-45486F0ABFE8}"/>
          </ac:spMkLst>
        </pc:spChg>
        <pc:grpChg chg="add mod">
          <ac:chgData name="Kumpulainen, Teemu (RC-FI DI PA)" userId="9e6db126-282e-46a7-b7b4-e4a6760ecd8a" providerId="ADAL" clId="{69F2DA64-4A59-4EB1-80C9-6C8B92288DA2}" dt="2023-04-06T09:39:46.868" v="2230" actId="164"/>
          <ac:grpSpMkLst>
            <pc:docMk/>
            <pc:sldMk cId="1494101766" sldId="2147376968"/>
            <ac:grpSpMk id="4" creationId="{031CFE88-7316-2907-6864-A8F181AFE2A6}"/>
          </ac:grpSpMkLst>
        </pc:grpChg>
        <pc:grpChg chg="add mod">
          <ac:chgData name="Kumpulainen, Teemu (RC-FI DI PA)" userId="9e6db126-282e-46a7-b7b4-e4a6760ecd8a" providerId="ADAL" clId="{69F2DA64-4A59-4EB1-80C9-6C8B92288DA2}" dt="2023-04-06T09:39:46.868" v="2230" actId="164"/>
          <ac:grpSpMkLst>
            <pc:docMk/>
            <pc:sldMk cId="1494101766" sldId="2147376968"/>
            <ac:grpSpMk id="64" creationId="{3B5E0ECA-AAC9-CB97-2E05-4649D2EA6B83}"/>
          </ac:grpSpMkLst>
        </pc:grpChg>
        <pc:graphicFrameChg chg="mod modGraphic">
          <ac:chgData name="Kumpulainen, Teemu (RC-FI DI PA)" userId="9e6db126-282e-46a7-b7b4-e4a6760ecd8a" providerId="ADAL" clId="{69F2DA64-4A59-4EB1-80C9-6C8B92288DA2}" dt="2023-04-06T09:38:38.681" v="2175" actId="20577"/>
          <ac:graphicFrameMkLst>
            <pc:docMk/>
            <pc:sldMk cId="1494101766" sldId="2147376968"/>
            <ac:graphicFrameMk id="6" creationId="{31DEC2E6-1C1A-4A15-9F45-1EF9D66490E0}"/>
          </ac:graphicFrameMkLst>
        </pc:graphicFrameChg>
        <pc:picChg chg="add mod ord">
          <ac:chgData name="Kumpulainen, Teemu (RC-FI DI PA)" userId="9e6db126-282e-46a7-b7b4-e4a6760ecd8a" providerId="ADAL" clId="{69F2DA64-4A59-4EB1-80C9-6C8B92288DA2}" dt="2023-04-04T10:00:24.278" v="378" actId="164"/>
          <ac:picMkLst>
            <pc:docMk/>
            <pc:sldMk cId="1494101766" sldId="2147376968"/>
            <ac:picMk id="7" creationId="{D5628C36-7E59-3C53-A627-8423F3A2D3B5}"/>
          </ac:picMkLst>
        </pc:picChg>
        <pc:picChg chg="add mod">
          <ac:chgData name="Kumpulainen, Teemu (RC-FI DI PA)" userId="9e6db126-282e-46a7-b7b4-e4a6760ecd8a" providerId="ADAL" clId="{69F2DA64-4A59-4EB1-80C9-6C8B92288DA2}" dt="2023-04-04T10:00:24.278" v="378" actId="164"/>
          <ac:picMkLst>
            <pc:docMk/>
            <pc:sldMk cId="1494101766" sldId="2147376968"/>
            <ac:picMk id="13" creationId="{FA0C4122-6BA2-027F-7198-C6239DED3524}"/>
          </ac:picMkLst>
        </pc:picChg>
        <pc:picChg chg="mod">
          <ac:chgData name="Kumpulainen, Teemu (RC-FI DI PA)" userId="9e6db126-282e-46a7-b7b4-e4a6760ecd8a" providerId="ADAL" clId="{69F2DA64-4A59-4EB1-80C9-6C8B92288DA2}" dt="2023-04-04T10:00:24.278" v="378" actId="164"/>
          <ac:picMkLst>
            <pc:docMk/>
            <pc:sldMk cId="1494101766" sldId="2147376968"/>
            <ac:picMk id="26" creationId="{480CF8BA-452F-5B56-45A3-BD9C8E957DD1}"/>
          </ac:picMkLst>
        </pc:picChg>
        <pc:picChg chg="add mod">
          <ac:chgData name="Kumpulainen, Teemu (RC-FI DI PA)" userId="9e6db126-282e-46a7-b7b4-e4a6760ecd8a" providerId="ADAL" clId="{69F2DA64-4A59-4EB1-80C9-6C8B92288DA2}" dt="2023-04-04T10:00:24.278" v="378" actId="164"/>
          <ac:picMkLst>
            <pc:docMk/>
            <pc:sldMk cId="1494101766" sldId="2147376968"/>
            <ac:picMk id="42" creationId="{7D5DC580-111D-FF33-C137-11CBB3079505}"/>
          </ac:picMkLst>
        </pc:picChg>
        <pc:picChg chg="add mod">
          <ac:chgData name="Kumpulainen, Teemu (RC-FI DI PA)" userId="9e6db126-282e-46a7-b7b4-e4a6760ecd8a" providerId="ADAL" clId="{69F2DA64-4A59-4EB1-80C9-6C8B92288DA2}" dt="2023-04-04T10:00:24.278" v="378" actId="164"/>
          <ac:picMkLst>
            <pc:docMk/>
            <pc:sldMk cId="1494101766" sldId="2147376968"/>
            <ac:picMk id="44" creationId="{6E149700-BB36-E891-0A3E-93EBF18BFFFC}"/>
          </ac:picMkLst>
        </pc:picChg>
        <pc:picChg chg="add mod">
          <ac:chgData name="Kumpulainen, Teemu (RC-FI DI PA)" userId="9e6db126-282e-46a7-b7b4-e4a6760ecd8a" providerId="ADAL" clId="{69F2DA64-4A59-4EB1-80C9-6C8B92288DA2}" dt="2023-04-04T10:00:24.278" v="378" actId="164"/>
          <ac:picMkLst>
            <pc:docMk/>
            <pc:sldMk cId="1494101766" sldId="2147376968"/>
            <ac:picMk id="46" creationId="{F4F66C9A-8A02-2C88-4DDF-BE973EE7CBD3}"/>
          </ac:picMkLst>
        </pc:picChg>
        <pc:picChg chg="add mod">
          <ac:chgData name="Kumpulainen, Teemu (RC-FI DI PA)" userId="9e6db126-282e-46a7-b7b4-e4a6760ecd8a" providerId="ADAL" clId="{69F2DA64-4A59-4EB1-80C9-6C8B92288DA2}" dt="2023-04-04T10:00:24.278" v="378" actId="164"/>
          <ac:picMkLst>
            <pc:docMk/>
            <pc:sldMk cId="1494101766" sldId="2147376968"/>
            <ac:picMk id="47" creationId="{C328A80E-C7F5-0543-8749-C5B5CD91F64F}"/>
          </ac:picMkLst>
        </pc:picChg>
        <pc:picChg chg="add mod ord">
          <ac:chgData name="Kumpulainen, Teemu (RC-FI DI PA)" userId="9e6db126-282e-46a7-b7b4-e4a6760ecd8a" providerId="ADAL" clId="{69F2DA64-4A59-4EB1-80C9-6C8B92288DA2}" dt="2023-04-04T10:00:24.278" v="378" actId="164"/>
          <ac:picMkLst>
            <pc:docMk/>
            <pc:sldMk cId="1494101766" sldId="2147376968"/>
            <ac:picMk id="49" creationId="{D15DAF97-1EF7-5629-E1BD-ED989460C477}"/>
          </ac:picMkLst>
        </pc:picChg>
        <pc:picChg chg="add mod">
          <ac:chgData name="Kumpulainen, Teemu (RC-FI DI PA)" userId="9e6db126-282e-46a7-b7b4-e4a6760ecd8a" providerId="ADAL" clId="{69F2DA64-4A59-4EB1-80C9-6C8B92288DA2}" dt="2023-04-04T10:00:24.278" v="378" actId="164"/>
          <ac:picMkLst>
            <pc:docMk/>
            <pc:sldMk cId="1494101766" sldId="2147376968"/>
            <ac:picMk id="54" creationId="{5CB10629-841F-1F8D-A012-5F67F6971B3B}"/>
          </ac:picMkLst>
        </pc:picChg>
        <pc:cxnChg chg="add mod">
          <ac:chgData name="Kumpulainen, Teemu (RC-FI DI PA)" userId="9e6db126-282e-46a7-b7b4-e4a6760ecd8a" providerId="ADAL" clId="{69F2DA64-4A59-4EB1-80C9-6C8B92288DA2}" dt="2023-04-04T10:00:24.278" v="378" actId="164"/>
          <ac:cxnSpMkLst>
            <pc:docMk/>
            <pc:sldMk cId="1494101766" sldId="2147376968"/>
            <ac:cxnSpMk id="18" creationId="{5487558B-C148-F5B6-C449-9469DC752A91}"/>
          </ac:cxnSpMkLst>
        </pc:cxnChg>
        <pc:cxnChg chg="add mod">
          <ac:chgData name="Kumpulainen, Teemu (RC-FI DI PA)" userId="9e6db126-282e-46a7-b7b4-e4a6760ecd8a" providerId="ADAL" clId="{69F2DA64-4A59-4EB1-80C9-6C8B92288DA2}" dt="2023-04-04T10:00:24.278" v="378" actId="164"/>
          <ac:cxnSpMkLst>
            <pc:docMk/>
            <pc:sldMk cId="1494101766" sldId="2147376968"/>
            <ac:cxnSpMk id="19" creationId="{78E32D1B-2B6B-A6DC-694E-AB5E70D173E2}"/>
          </ac:cxnSpMkLst>
        </pc:cxnChg>
        <pc:cxnChg chg="add mod">
          <ac:chgData name="Kumpulainen, Teemu (RC-FI DI PA)" userId="9e6db126-282e-46a7-b7b4-e4a6760ecd8a" providerId="ADAL" clId="{69F2DA64-4A59-4EB1-80C9-6C8B92288DA2}" dt="2023-04-04T10:00:24.278" v="378" actId="164"/>
          <ac:cxnSpMkLst>
            <pc:docMk/>
            <pc:sldMk cId="1494101766" sldId="2147376968"/>
            <ac:cxnSpMk id="24" creationId="{1745BAEA-CD77-610E-D5CF-209F65E75C00}"/>
          </ac:cxnSpMkLst>
        </pc:cxnChg>
        <pc:cxnChg chg="add mod">
          <ac:chgData name="Kumpulainen, Teemu (RC-FI DI PA)" userId="9e6db126-282e-46a7-b7b4-e4a6760ecd8a" providerId="ADAL" clId="{69F2DA64-4A59-4EB1-80C9-6C8B92288DA2}" dt="2023-04-04T10:00:24.278" v="378" actId="164"/>
          <ac:cxnSpMkLst>
            <pc:docMk/>
            <pc:sldMk cId="1494101766" sldId="2147376968"/>
            <ac:cxnSpMk id="28" creationId="{9EBFF5D3-2BFE-12BB-6C80-85FB4BCE0F25}"/>
          </ac:cxnSpMkLst>
        </pc:cxnChg>
      </pc:sldChg>
      <pc:sldMasterChg chg="modSp mod">
        <pc:chgData name="Kumpulainen, Teemu (RC-FI DI PA)" userId="9e6db126-282e-46a7-b7b4-e4a6760ecd8a" providerId="ADAL" clId="{69F2DA64-4A59-4EB1-80C9-6C8B92288DA2}" dt="2023-04-04T10:38:04.929" v="706" actId="790"/>
        <pc:sldMasterMkLst>
          <pc:docMk/>
          <pc:sldMasterMk cId="1698585145" sldId="2147483648"/>
        </pc:sldMasterMkLst>
        <pc:spChg chg="mod">
          <ac:chgData name="Kumpulainen, Teemu (RC-FI DI PA)" userId="9e6db126-282e-46a7-b7b4-e4a6760ecd8a" providerId="ADAL" clId="{69F2DA64-4A59-4EB1-80C9-6C8B92288DA2}" dt="2023-04-04T10:38:04.925" v="702" actId="790"/>
          <ac:spMkLst>
            <pc:docMk/>
            <pc:sldMasterMk cId="1698585145" sldId="2147483648"/>
            <ac:spMk id="2" creationId="{2500D031-E8B7-42AD-B616-57A243A31EFA}"/>
          </ac:spMkLst>
        </pc:spChg>
        <pc:spChg chg="mod">
          <ac:chgData name="Kumpulainen, Teemu (RC-FI DI PA)" userId="9e6db126-282e-46a7-b7b4-e4a6760ecd8a" providerId="ADAL" clId="{69F2DA64-4A59-4EB1-80C9-6C8B92288DA2}" dt="2023-04-04T10:38:04.926" v="703" actId="790"/>
          <ac:spMkLst>
            <pc:docMk/>
            <pc:sldMasterMk cId="1698585145" sldId="2147483648"/>
            <ac:spMk id="3" creationId="{6750A408-ED0E-47CF-AC3A-5AD4A6E25CE3}"/>
          </ac:spMkLst>
        </pc:spChg>
        <pc:spChg chg="mod">
          <ac:chgData name="Kumpulainen, Teemu (RC-FI DI PA)" userId="9e6db126-282e-46a7-b7b4-e4a6760ecd8a" providerId="ADAL" clId="{69F2DA64-4A59-4EB1-80C9-6C8B92288DA2}" dt="2023-04-04T10:38:04.929" v="706" actId="790"/>
          <ac:spMkLst>
            <pc:docMk/>
            <pc:sldMasterMk cId="1698585145" sldId="2147483648"/>
            <ac:spMk id="4" creationId="{B40435D4-2E90-4CB0-BDD3-79F4E176C947}"/>
          </ac:spMkLst>
        </pc:spChg>
        <pc:spChg chg="mod">
          <ac:chgData name="Kumpulainen, Teemu (RC-FI DI PA)" userId="9e6db126-282e-46a7-b7b4-e4a6760ecd8a" providerId="ADAL" clId="{69F2DA64-4A59-4EB1-80C9-6C8B92288DA2}" dt="2023-04-04T10:38:04.927" v="704" actId="790"/>
          <ac:spMkLst>
            <pc:docMk/>
            <pc:sldMasterMk cId="1698585145" sldId="2147483648"/>
            <ac:spMk id="5" creationId="{4F5CAFE5-0972-49AB-B42B-7C613C153AFE}"/>
          </ac:spMkLst>
        </pc:spChg>
        <pc:spChg chg="mod">
          <ac:chgData name="Kumpulainen, Teemu (RC-FI DI PA)" userId="9e6db126-282e-46a7-b7b4-e4a6760ecd8a" providerId="ADAL" clId="{69F2DA64-4A59-4EB1-80C9-6C8B92288DA2}" dt="2023-04-04T10:38:04.928" v="705" actId="790"/>
          <ac:spMkLst>
            <pc:docMk/>
            <pc:sldMasterMk cId="1698585145" sldId="2147483648"/>
            <ac:spMk id="6" creationId="{1C051FD7-F65C-4306-9083-C9770A0AF2DF}"/>
          </ac:spMkLst>
        </pc:spChg>
      </pc:sldMaster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a:t>4/14/2023</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a:t>‹#›</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a:pPr/>
              <a:t>4/14/2023</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a:pPr/>
              <a:t>‹#›</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a:t>
            </a:fld>
            <a:endParaRPr lang="en-US" dirty="0"/>
          </a:p>
        </p:txBody>
      </p:sp>
    </p:spTree>
    <p:extLst>
      <p:ext uri="{BB962C8B-B14F-4D97-AF65-F5344CB8AC3E}">
        <p14:creationId xmlns:p14="http://schemas.microsoft.com/office/powerpoint/2010/main" val="2345351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931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1</a:t>
            </a:fld>
            <a:endParaRPr lang="en-US" dirty="0"/>
          </a:p>
        </p:txBody>
      </p:sp>
    </p:spTree>
    <p:extLst>
      <p:ext uri="{BB962C8B-B14F-4D97-AF65-F5344CB8AC3E}">
        <p14:creationId xmlns:p14="http://schemas.microsoft.com/office/powerpoint/2010/main" val="532470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err="1">
                <a:latin typeface="Arial" pitchFamily="34" charset="0"/>
              </a:rPr>
              <a:t>Notizen</a:t>
            </a:r>
            <a:r>
              <a:rPr lang="en-US" dirty="0">
                <a:latin typeface="Arial" pitchFamily="34" charset="0"/>
              </a:rPr>
              <a:t>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3805916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3</a:t>
            </a:fld>
            <a:endParaRPr lang="en-US" dirty="0"/>
          </a:p>
        </p:txBody>
      </p:sp>
    </p:spTree>
    <p:extLst>
      <p:ext uri="{BB962C8B-B14F-4D97-AF65-F5344CB8AC3E}">
        <p14:creationId xmlns:p14="http://schemas.microsoft.com/office/powerpoint/2010/main" val="113077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2</a:t>
            </a:fld>
            <a:endParaRPr lang="en-US" dirty="0"/>
          </a:p>
        </p:txBody>
      </p:sp>
    </p:spTree>
    <p:extLst>
      <p:ext uri="{BB962C8B-B14F-4D97-AF65-F5344CB8AC3E}">
        <p14:creationId xmlns:p14="http://schemas.microsoft.com/office/powerpoint/2010/main" val="3782582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3</a:t>
            </a:fld>
            <a:endParaRPr lang="en-US" dirty="0"/>
          </a:p>
        </p:txBody>
      </p:sp>
    </p:spTree>
    <p:extLst>
      <p:ext uri="{BB962C8B-B14F-4D97-AF65-F5344CB8AC3E}">
        <p14:creationId xmlns:p14="http://schemas.microsoft.com/office/powerpoint/2010/main" val="2856675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4</a:t>
            </a:fld>
            <a:endParaRPr lang="en-US" dirty="0"/>
          </a:p>
        </p:txBody>
      </p:sp>
    </p:spTree>
    <p:extLst>
      <p:ext uri="{BB962C8B-B14F-4D97-AF65-F5344CB8AC3E}">
        <p14:creationId xmlns:p14="http://schemas.microsoft.com/office/powerpoint/2010/main" val="1332647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4938" y="668338"/>
            <a:ext cx="6530975" cy="367347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006B2-8858-45BA-8219-C563ED5F71A3}"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62283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6</a:t>
            </a:fld>
            <a:endParaRPr lang="en-US" dirty="0"/>
          </a:p>
        </p:txBody>
      </p:sp>
    </p:spTree>
    <p:extLst>
      <p:ext uri="{BB962C8B-B14F-4D97-AF65-F5344CB8AC3E}">
        <p14:creationId xmlns:p14="http://schemas.microsoft.com/office/powerpoint/2010/main" val="268966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7</a:t>
            </a:fld>
            <a:endParaRPr lang="en-US" dirty="0"/>
          </a:p>
        </p:txBody>
      </p:sp>
    </p:spTree>
    <p:extLst>
      <p:ext uri="{BB962C8B-B14F-4D97-AF65-F5344CB8AC3E}">
        <p14:creationId xmlns:p14="http://schemas.microsoft.com/office/powerpoint/2010/main" val="409089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8</a:t>
            </a:fld>
            <a:endParaRPr lang="en-US" dirty="0"/>
          </a:p>
        </p:txBody>
      </p:sp>
    </p:spTree>
    <p:extLst>
      <p:ext uri="{BB962C8B-B14F-4D97-AF65-F5344CB8AC3E}">
        <p14:creationId xmlns:p14="http://schemas.microsoft.com/office/powerpoint/2010/main" val="987152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9</a:t>
            </a:fld>
            <a:endParaRPr lang="en-US" dirty="0"/>
          </a:p>
        </p:txBody>
      </p:sp>
    </p:spTree>
    <p:extLst>
      <p:ext uri="{BB962C8B-B14F-4D97-AF65-F5344CB8AC3E}">
        <p14:creationId xmlns:p14="http://schemas.microsoft.com/office/powerpoint/2010/main" val="2569176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9.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6.bin"/><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customXml" Target="../../customXml/item1.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DFDCC67E-3DC5-4825-BAF0-91767AEDD1B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8" name="Cognisphere" descr="A close up of a light&#10;&#10;Description automatically generated">
            <a:extLst>
              <a:ext uri="{FF2B5EF4-FFF2-40B4-BE49-F238E27FC236}">
                <a16:creationId xmlns:a16="http://schemas.microsoft.com/office/drawing/2014/main" id="{400F00D1-6E61-493C-9741-BF15B2130C3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dirty="0"/>
              <a:t>Click to edit Master title style</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spTree>
    <p:extLst>
      <p:ext uri="{BB962C8B-B14F-4D97-AF65-F5344CB8AC3E}">
        <p14:creationId xmlns:p14="http://schemas.microsoft.com/office/powerpoint/2010/main" val="2968626746"/>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Siemens 2023</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hf hdr="0" dt="0"/>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Siemens 2023</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n-US"/>
              <a:t>Unrestricted © Siemens 2023</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spTree>
    <p:extLst>
      <p:ext uri="{BB962C8B-B14F-4D97-AF65-F5344CB8AC3E}">
        <p14:creationId xmlns:p14="http://schemas.microsoft.com/office/powerpoint/2010/main" val="3664610299"/>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n-US"/>
              <a:t>Unrestricted © Siemens 2023</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3E3006B3-77A4-40D9-BA41-5DFDC8A830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n-US"/>
              <a:t>Unrestricted © Siemens 2023</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One object (large)" userDrawn="1">
  <p:cSld name="1_One object (lar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06273399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0" name="Objekt 9" hidden="1"/>
                      <p:cNvPicPr/>
                      <p:nvPr/>
                    </p:nvPicPr>
                    <p:blipFill>
                      <a:blip r:embed="rId8"/>
                      <a:stretch>
                        <a:fillRect/>
                      </a:stretch>
                    </p:blipFill>
                    <p:spPr>
                      <a:xfrm>
                        <a:off x="1588" y="1589"/>
                        <a:ext cx="1586" cy="1587"/>
                      </a:xfrm>
                      <a:prstGeom prst="rect">
                        <a:avLst/>
                      </a:prstGeom>
                    </p:spPr>
                  </p:pic>
                </p:oleObj>
              </mc:Fallback>
            </mc:AlternateContent>
          </a:graphicData>
        </a:graphic>
      </p:graphicFrame>
      <p:sp>
        <p:nvSpPr>
          <p:cNvPr id="9" name="Rechteck 8" hidden="1"/>
          <p:cNvSpPr/>
          <p:nvPr userDrawn="1">
            <p:custDataLst>
              <p:tags r:id="rId3"/>
            </p:custDataLst>
          </p:nvPr>
        </p:nvSpPr>
        <p:spPr bwMode="gray">
          <a:xfrm>
            <a:off x="604818" y="1414800"/>
            <a:ext cx="11100219" cy="4806000"/>
          </a:xfrm>
          <a:prstGeom prst="rect">
            <a:avLst/>
          </a:prstGeom>
          <a:solidFill>
            <a:srgbClr val="C00000"/>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4"/>
            </p:custDataLst>
          </p:nvPr>
        </p:nvSpPr>
        <p:spPr bwMode="gray">
          <a:xfrm>
            <a:off x="626074" y="1449308"/>
            <a:ext cx="8203727" cy="4752000"/>
          </a:xfrm>
        </p:spPr>
        <p:txBody>
          <a:bodyPr/>
          <a:lstStyle>
            <a:lvl1pPr>
              <a:buFont typeface="Arial" pitchFamily="34" charse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Rechteck 7" hidden="1"/>
          <p:cNvSpPr/>
          <p:nvPr userDrawn="1">
            <p:custDataLst>
              <p:tags r:id="rId5"/>
            </p:custDataLst>
          </p:nvPr>
        </p:nvSpPr>
        <p:spPr bwMode="gray">
          <a:xfrm>
            <a:off x="8974226" y="-1"/>
            <a:ext cx="3217774" cy="1412876"/>
          </a:xfrm>
          <a:prstGeom prst="rect">
            <a:avLst/>
          </a:prstGeom>
          <a:solidFill>
            <a:schemeClr val="accent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bwMode="gray"/>
        <p:txBody>
          <a:bodyPr/>
          <a:lstStyle/>
          <a:p>
            <a:r>
              <a:rPr lang="de-DE"/>
              <a:t>Mastertitelformat bearbeiten</a:t>
            </a:r>
            <a:endParaRPr lang="en-US" dirty="0"/>
          </a:p>
        </p:txBody>
      </p:sp>
      <p:sp>
        <p:nvSpPr>
          <p:cNvPr id="12" name="Datumsplatzhalter 11"/>
          <p:cNvSpPr>
            <a:spLocks noGrp="1"/>
          </p:cNvSpPr>
          <p:nvPr>
            <p:ph type="dt" sz="half" idx="10"/>
          </p:nvPr>
        </p:nvSpPr>
        <p:spPr bwMode="gray"/>
        <p:txBody>
          <a:bodyPr/>
          <a:lstStyle/>
          <a:p>
            <a:endParaRPr lang="en-US" dirty="0"/>
          </a:p>
        </p:txBody>
      </p:sp>
      <p:sp>
        <p:nvSpPr>
          <p:cNvPr id="14" name="Foliennummernplatzhalter 13"/>
          <p:cNvSpPr>
            <a:spLocks noGrp="1"/>
          </p:cNvSpPr>
          <p:nvPr>
            <p:ph type="sldNum" sz="quarter" idx="12"/>
          </p:nvPr>
        </p:nvSpPr>
        <p:spPr bwMode="gray"/>
        <p:txBody>
          <a:bodyPr/>
          <a:lstStyle/>
          <a:p>
            <a:r>
              <a:rPr lang="en-US" dirty="0"/>
              <a:t>Page </a:t>
            </a:r>
            <a:fld id="{99E26495-FA13-4534-B451-FB78AC0E3177}" type="slidenum">
              <a:rPr lang="en-US" smtClean="0"/>
              <a:pPr/>
              <a:t>‹#›</a:t>
            </a:fld>
            <a:endParaRPr lang="en-US" dirty="0"/>
          </a:p>
        </p:txBody>
      </p:sp>
      <p:sp>
        <p:nvSpPr>
          <p:cNvPr id="15" name="Footer Placeholder">
            <a:extLst>
              <a:ext uri="{FF2B5EF4-FFF2-40B4-BE49-F238E27FC236}">
                <a16:creationId xmlns:a16="http://schemas.microsoft.com/office/drawing/2014/main" id="{2D73D8A8-8FEA-4F1E-BA3B-E976F6421CD3}"/>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Unrestricted © Siemens 2023</a:t>
            </a:r>
            <a:endParaRPr lang="en-US" dirty="0"/>
          </a:p>
        </p:txBody>
      </p:sp>
    </p:spTree>
    <p:custDataLst>
      <p:custData r:id="rId1"/>
    </p:custDataLst>
    <p:extLst>
      <p:ext uri="{BB962C8B-B14F-4D97-AF65-F5344CB8AC3E}">
        <p14:creationId xmlns:p14="http://schemas.microsoft.com/office/powerpoint/2010/main" val="3686617725"/>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28AF468F-9C73-4F80-BBE4-13CFAA1CE53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Siemens 2023</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Siemens 2023</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Unrestricted © Siemens 2023</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dirty="0"/>
              <a:t>Page </a:t>
            </a:r>
            <a:fld id="{15EBE321-CBB1-4E91-BD14-37C8D44326FB}" type="slidenum">
              <a:rPr lang="en-US"/>
              <a:pPr/>
              <a:t>‹#›</a:t>
            </a:fld>
            <a:endParaRPr lang="en-US" dirty="0"/>
          </a:p>
        </p:txBody>
      </p:sp>
      <p:sp>
        <p:nvSpPr>
          <p:cNvPr id="4" name="empower - DO NOT DELETE!!!" hidden="1">
            <a:extLst>
              <a:ext uri="{FF2B5EF4-FFF2-40B4-BE49-F238E27FC236}">
                <a16:creationId xmlns:a16="http://schemas.microsoft.com/office/drawing/2014/main" id="{B40435D4-2E90-4CB0-BDD3-79F4E176C947}"/>
              </a:ext>
            </a:extLst>
          </p:cNvPr>
          <p:cNvSpPr/>
          <p:nvPr userDrawn="1">
            <p:custDataLst>
              <p:tags r:id="rId57"/>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lvl="0" algn="l"/>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7" r:id="rId55"/>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9.xml"/><Relationship Id="rId7" Type="http://schemas.openxmlformats.org/officeDocument/2006/relationships/image" Target="../media/image45.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5.bin"/><Relationship Id="rId5" Type="http://schemas.openxmlformats.org/officeDocument/2006/relationships/notesSlide" Target="../notesSlides/notesSlide10.xml"/><Relationship Id="rId4"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hyperlink" Target="mailto:teemu.Kumpulainen@siemens.com" TargetMode="External"/><Relationship Id="rId2" Type="http://schemas.openxmlformats.org/officeDocument/2006/relationships/notesSlide" Target="../notesSlides/notesSlide11.xml"/><Relationship Id="rId1" Type="http://schemas.openxmlformats.org/officeDocument/2006/relationships/slideLayout" Target="../slideLayouts/slideLayout54.xml"/><Relationship Id="rId5" Type="http://schemas.openxmlformats.org/officeDocument/2006/relationships/hyperlink" Target="http://www.siemens.com/industrial-5g" TargetMode="External"/><Relationship Id="rId4" Type="http://schemas.openxmlformats.org/officeDocument/2006/relationships/hyperlink" Target="https://www.linkedin.com/in/teemu-kumpulainen-75406893/"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5.xml"/><Relationship Id="rId1" Type="http://schemas.openxmlformats.org/officeDocument/2006/relationships/tags" Target="../tags/tag30.xml"/><Relationship Id="rId4" Type="http://schemas.openxmlformats.org/officeDocument/2006/relationships/hyperlink" Target="https://www.siemens.com/industrialsecurity"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7.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0.xml"/><Relationship Id="rId7" Type="http://schemas.openxmlformats.org/officeDocument/2006/relationships/slideLayout" Target="../slideLayouts/slideLayout3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34.emf"/><Relationship Id="rId4" Type="http://schemas.openxmlformats.org/officeDocument/2006/relationships/tags" Target="../tags/tag11.xml"/><Relationship Id="rId9"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5.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3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4.emf"/><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35.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emf"/><Relationship Id="rId9"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33.xml"/><Relationship Id="rId5" Type="http://schemas.openxmlformats.org/officeDocument/2006/relationships/image" Target="../media/image44.png"/><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4DE21012-AABB-07A1-09CF-CEE6602288CA}"/>
              </a:ext>
            </a:extLst>
          </p:cNvPr>
          <p:cNvSpPr>
            <a:spLocks noGrp="1"/>
          </p:cNvSpPr>
          <p:nvPr>
            <p:ph type="pic" sz="quarter" idx="11"/>
          </p:nvPr>
        </p:nvSpPr>
        <p:spPr/>
      </p:sp>
      <p:sp>
        <p:nvSpPr>
          <p:cNvPr id="3" name="Titel 2">
            <a:extLst>
              <a:ext uri="{FF2B5EF4-FFF2-40B4-BE49-F238E27FC236}">
                <a16:creationId xmlns:a16="http://schemas.microsoft.com/office/drawing/2014/main" id="{D643785F-B936-2C25-D61D-5CD9129CEF47}"/>
              </a:ext>
            </a:extLst>
          </p:cNvPr>
          <p:cNvSpPr>
            <a:spLocks noGrp="1"/>
          </p:cNvSpPr>
          <p:nvPr>
            <p:ph type="title"/>
          </p:nvPr>
        </p:nvSpPr>
        <p:spPr>
          <a:xfrm>
            <a:off x="410401" y="3780000"/>
            <a:ext cx="9287638" cy="615553"/>
          </a:xfrm>
        </p:spPr>
        <p:txBody>
          <a:bodyPr/>
          <a:lstStyle/>
          <a:p>
            <a:r>
              <a:rPr lang="en-US" dirty="0"/>
              <a:t>Industrial 5G</a:t>
            </a:r>
          </a:p>
        </p:txBody>
      </p:sp>
      <p:sp>
        <p:nvSpPr>
          <p:cNvPr id="2" name="Untertitel 1">
            <a:extLst>
              <a:ext uri="{FF2B5EF4-FFF2-40B4-BE49-F238E27FC236}">
                <a16:creationId xmlns:a16="http://schemas.microsoft.com/office/drawing/2014/main" id="{9809EBB5-468F-F8B9-96D3-E91EE3352EE4}"/>
              </a:ext>
            </a:extLst>
          </p:cNvPr>
          <p:cNvSpPr>
            <a:spLocks noGrp="1"/>
          </p:cNvSpPr>
          <p:nvPr>
            <p:ph type="subTitle" idx="1"/>
          </p:nvPr>
        </p:nvSpPr>
        <p:spPr/>
        <p:txBody>
          <a:bodyPr/>
          <a:lstStyle/>
          <a:p>
            <a:r>
              <a:rPr lang="en-US" dirty="0"/>
              <a:t>5G HUB</a:t>
            </a:r>
          </a:p>
          <a:p>
            <a:r>
              <a:rPr lang="en-US" dirty="0"/>
              <a:t>Vaasa </a:t>
            </a:r>
          </a:p>
        </p:txBody>
      </p:sp>
      <p:sp>
        <p:nvSpPr>
          <p:cNvPr id="5" name="Fußzeilenplatzhalter 4">
            <a:extLst>
              <a:ext uri="{FF2B5EF4-FFF2-40B4-BE49-F238E27FC236}">
                <a16:creationId xmlns:a16="http://schemas.microsoft.com/office/drawing/2014/main" id="{F23939B8-874A-341D-16A7-1D41F743CC6C}"/>
              </a:ext>
            </a:extLst>
          </p:cNvPr>
          <p:cNvSpPr>
            <a:spLocks noGrp="1"/>
          </p:cNvSpPr>
          <p:nvPr>
            <p:ph type="ftr" sz="quarter" idx="13"/>
          </p:nvPr>
        </p:nvSpPr>
        <p:spPr/>
        <p:txBody>
          <a:bodyPr/>
          <a:lstStyle/>
          <a:p>
            <a:pPr>
              <a:lnSpc>
                <a:spcPct val="100000"/>
              </a:lnSpc>
            </a:pPr>
            <a:r>
              <a:rPr lang="en-US"/>
              <a:t>Unrestricted © Siemens 2023</a:t>
            </a:r>
            <a:endParaRPr lang="en-US" dirty="0"/>
          </a:p>
        </p:txBody>
      </p:sp>
      <p:pic>
        <p:nvPicPr>
          <p:cNvPr id="6" name="Grafik 5" descr="Ein Bild, das Licht enthält.&#10;&#10;Automatisch generierte Beschreibung">
            <a:extLst>
              <a:ext uri="{FF2B5EF4-FFF2-40B4-BE49-F238E27FC236}">
                <a16:creationId xmlns:a16="http://schemas.microsoft.com/office/drawing/2014/main" id="{AE888311-4B04-62F7-84A4-A3241AA212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229" y="0"/>
            <a:ext cx="12193200" cy="3502024"/>
          </a:xfrm>
          <a:prstGeom prst="rect">
            <a:avLst/>
          </a:prstGeom>
        </p:spPr>
      </p:pic>
    </p:spTree>
    <p:extLst>
      <p:ext uri="{BB962C8B-B14F-4D97-AF65-F5344CB8AC3E}">
        <p14:creationId xmlns:p14="http://schemas.microsoft.com/office/powerpoint/2010/main" val="22830914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1">
            <a:extLst>
              <a:ext uri="{FF2B5EF4-FFF2-40B4-BE49-F238E27FC236}">
                <a16:creationId xmlns:a16="http://schemas.microsoft.com/office/drawing/2014/main" id="{393D759C-CC8F-4FDC-B0CE-89D19C6DF121}"/>
              </a:ext>
            </a:extLst>
          </p:cNvPr>
          <p:cNvSpPr>
            <a:spLocks/>
          </p:cNvSpPr>
          <p:nvPr/>
        </p:nvSpPr>
        <p:spPr bwMode="auto">
          <a:xfrm>
            <a:off x="6311573" y="1418589"/>
            <a:ext cx="5469264" cy="4748849"/>
          </a:xfrm>
          <a:prstGeom prst="rect">
            <a:avLst/>
          </a:prstGeom>
          <a:solidFill>
            <a:srgbClr val="DFDFD9"/>
          </a:solidFill>
          <a:ln w="9525">
            <a:noFill/>
            <a:miter lim="800000"/>
            <a:headEnd/>
            <a:tailEnd/>
          </a:ln>
          <a:effectLst/>
        </p:spPr>
        <p:txBody>
          <a:bodyPr wrap="square" lIns="107944" tIns="53972" rIns="107944" bIns="53972" numCol="1" spcCol="72000" rtlCol="0" anchor="b">
            <a:noAutofit/>
          </a:bodyPr>
          <a:lstStyle/>
          <a:p>
            <a:endParaRPr lang="en-US" sz="999" i="1" dirty="0">
              <a:solidFill>
                <a:srgbClr val="000000"/>
              </a:solidFill>
              <a:cs typeface="Arial" panose="020B0604020202020204" pitchFamily="34" charset="0"/>
            </a:endParaRPr>
          </a:p>
        </p:txBody>
      </p:sp>
      <p:graphicFrame>
        <p:nvGraphicFramePr>
          <p:cNvPr id="8" name="Object 7" hidden="1">
            <a:extLst>
              <a:ext uri="{FF2B5EF4-FFF2-40B4-BE49-F238E27FC236}">
                <a16:creationId xmlns:a16="http://schemas.microsoft.com/office/drawing/2014/main" id="{868336BD-B252-49B1-87FC-CE0203853604}"/>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200" imgH="199" progId="TCLayout.ActiveDocument.1">
                  <p:embed/>
                </p:oleObj>
              </mc:Choice>
              <mc:Fallback>
                <p:oleObj name="think-cell Folie" r:id="rId6" imgW="200" imgH="199" progId="TCLayout.ActiveDocument.1">
                  <p:embed/>
                  <p:pic>
                    <p:nvPicPr>
                      <p:cNvPr id="8" name="Object 7" hidden="1">
                        <a:extLst>
                          <a:ext uri="{FF2B5EF4-FFF2-40B4-BE49-F238E27FC236}">
                            <a16:creationId xmlns:a16="http://schemas.microsoft.com/office/drawing/2014/main" id="{868336BD-B252-49B1-87FC-CE0203853604}"/>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5C243E5-988F-4506-9602-771846173C46}"/>
              </a:ext>
            </a:extLst>
          </p:cNvPr>
          <p:cNvSpPr/>
          <p:nvPr>
            <p:custDataLst>
              <p:tags r:id="rId3"/>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rtl="0">
              <a:lnSpc>
                <a:spcPct val="110000"/>
              </a:lnSpc>
              <a:spcBef>
                <a:spcPct val="0"/>
              </a:spcBef>
              <a:buFont typeface="Wingdings" charset="0"/>
              <a:buNone/>
            </a:pPr>
            <a:endParaRPr lang="en-US" sz="2199" b="1" dirty="0">
              <a:solidFill>
                <a:srgbClr val="000000"/>
              </a:solidFill>
              <a:ea typeface="+mj-ea"/>
              <a:cs typeface="Arial" panose="020B0604020202020204" pitchFamily="34" charset="0"/>
              <a:sym typeface="Arial" panose="020B0604020202020204" pitchFamily="34" charset="0"/>
            </a:endParaRPr>
          </a:p>
        </p:txBody>
      </p:sp>
      <p:sp>
        <p:nvSpPr>
          <p:cNvPr id="10" name="Titel 9">
            <a:extLst>
              <a:ext uri="{FF2B5EF4-FFF2-40B4-BE49-F238E27FC236}">
                <a16:creationId xmlns:a16="http://schemas.microsoft.com/office/drawing/2014/main" id="{5DAD2872-31D7-40E4-A661-DDC6C1E30F10}"/>
              </a:ext>
            </a:extLst>
          </p:cNvPr>
          <p:cNvSpPr>
            <a:spLocks noGrp="1"/>
          </p:cNvSpPr>
          <p:nvPr>
            <p:ph type="title"/>
          </p:nvPr>
        </p:nvSpPr>
        <p:spPr/>
        <p:txBody>
          <a:bodyPr/>
          <a:lstStyle/>
          <a:p>
            <a:r>
              <a:rPr lang="en-US" dirty="0"/>
              <a:t>SCALANCE M with SINEMA Remote Connect</a:t>
            </a:r>
            <a:br>
              <a:rPr lang="en-US" dirty="0"/>
            </a:br>
            <a:r>
              <a:rPr lang="en-US" altLang="de-DE" b="0" dirty="0"/>
              <a:t>Secure connection of remote machines via VPN</a:t>
            </a:r>
            <a:endParaRPr lang="en-US" b="0" dirty="0"/>
          </a:p>
        </p:txBody>
      </p:sp>
      <p:sp>
        <p:nvSpPr>
          <p:cNvPr id="4" name="Fußzeilenplatzhalter 3">
            <a:extLst>
              <a:ext uri="{FF2B5EF4-FFF2-40B4-BE49-F238E27FC236}">
                <a16:creationId xmlns:a16="http://schemas.microsoft.com/office/drawing/2014/main" id="{E958610B-4A61-47EB-92DE-E71069924DDF}"/>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2" name="Foliennummernplatzhalter 1">
            <a:extLst>
              <a:ext uri="{FF2B5EF4-FFF2-40B4-BE49-F238E27FC236}">
                <a16:creationId xmlns:a16="http://schemas.microsoft.com/office/drawing/2014/main" id="{7E72F99A-B62C-4A6E-94FC-2A2400478220}"/>
              </a:ext>
            </a:extLst>
          </p:cNvPr>
          <p:cNvSpPr>
            <a:spLocks noGrp="1"/>
          </p:cNvSpPr>
          <p:nvPr>
            <p:ph type="sldNum" sz="quarter" idx="11"/>
          </p:nvPr>
        </p:nvSpPr>
        <p:spPr/>
        <p:txBody>
          <a:bodyPr/>
          <a:lstStyle/>
          <a:p>
            <a:r>
              <a:rPr lang="en-US"/>
              <a:t>Page </a:t>
            </a:r>
            <a:fld id="{99E26495-FA13-4534-B451-FB78AC0E3177}" type="slidenum">
              <a:rPr lang="en-US" smtClean="0"/>
              <a:pPr/>
              <a:t>10</a:t>
            </a:fld>
            <a:endParaRPr lang="en-US" dirty="0"/>
          </a:p>
        </p:txBody>
      </p:sp>
      <p:graphicFrame>
        <p:nvGraphicFramePr>
          <p:cNvPr id="15" name="Table 5">
            <a:extLst>
              <a:ext uri="{FF2B5EF4-FFF2-40B4-BE49-F238E27FC236}">
                <a16:creationId xmlns:a16="http://schemas.microsoft.com/office/drawing/2014/main" id="{318846CC-6814-4EFE-A904-64A6BA2E6D78}"/>
              </a:ext>
            </a:extLst>
          </p:cNvPr>
          <p:cNvGraphicFramePr>
            <a:graphicFrameLocks noGrp="1"/>
          </p:cNvGraphicFramePr>
          <p:nvPr>
            <p:extLst>
              <p:ext uri="{D42A27DB-BD31-4B8C-83A1-F6EECF244321}">
                <p14:modId xmlns:p14="http://schemas.microsoft.com/office/powerpoint/2010/main" val="3650029896"/>
              </p:ext>
            </p:extLst>
          </p:nvPr>
        </p:nvGraphicFramePr>
        <p:xfrm>
          <a:off x="411163" y="1414800"/>
          <a:ext cx="5469264" cy="4766443"/>
        </p:xfrm>
        <a:graphic>
          <a:graphicData uri="http://schemas.openxmlformats.org/drawingml/2006/table">
            <a:tbl>
              <a:tblPr firstRow="1" bandRow="1">
                <a:tableStyleId>{5C22544A-7EE6-4342-B048-85BDC9FD1C3A}</a:tableStyleId>
              </a:tblPr>
              <a:tblGrid>
                <a:gridCol w="5469264">
                  <a:extLst>
                    <a:ext uri="{9D8B030D-6E8A-4147-A177-3AD203B41FA5}">
                      <a16:colId xmlns:a16="http://schemas.microsoft.com/office/drawing/2014/main" val="20000"/>
                    </a:ext>
                  </a:extLst>
                </a:gridCol>
              </a:tblGrid>
              <a:tr h="289409">
                <a:tc>
                  <a:txBody>
                    <a:bodyPr/>
                    <a:lstStyle/>
                    <a:p>
                      <a:pPr algn="l" rtl="0">
                        <a:lnSpc>
                          <a:spcPct val="100000"/>
                        </a:lnSpc>
                        <a:spcBef>
                          <a:spcPts val="0"/>
                        </a:spcBef>
                        <a:spcAft>
                          <a:spcPts val="0"/>
                        </a:spcAft>
                      </a:pPr>
                      <a:r>
                        <a:rPr lang="en-US" sz="1600" b="1" i="0" u="none" baseline="0" dirty="0">
                          <a:solidFill>
                            <a:srgbClr val="009999"/>
                          </a:solidFill>
                        </a:rPr>
                        <a:t>Task</a:t>
                      </a:r>
                      <a:endParaRPr lang="en-US" sz="1600" b="1" dirty="0">
                        <a:solidFill>
                          <a:srgbClr val="009999"/>
                        </a:solidFill>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76835">
                <a:tc>
                  <a:txBody>
                    <a:bodyPr/>
                    <a:lstStyle/>
                    <a:p>
                      <a:pPr marL="177800" marR="0" lvl="0" indent="-1778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altLang="de-DE" sz="1200" b="0" i="0" u="none" strike="noStrike" kern="1200" cap="none" spc="0" normalizeH="0" baseline="0" noProof="0" dirty="0">
                          <a:ln>
                            <a:noFill/>
                          </a:ln>
                          <a:solidFill>
                            <a:schemeClr val="tx2"/>
                          </a:solidFill>
                          <a:effectLst/>
                          <a:uLnTx/>
                          <a:uFillTx/>
                          <a:latin typeface="+mn-lt"/>
                          <a:ea typeface="+mn-ea"/>
                          <a:cs typeface="+mn-cs"/>
                        </a:rPr>
                        <a:t>Easy and secure remote maintenance of machinery and larger installations – also with the latest 5G mobile communications technology</a:t>
                      </a:r>
                    </a:p>
                    <a:p>
                      <a:pPr marL="177800" marR="0" lvl="0" indent="-1778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altLang="de-DE" sz="1200" b="0" i="0" u="none" strike="noStrike" kern="1200" cap="none" spc="0" normalizeH="0" baseline="0" noProof="0" dirty="0">
                          <a:ln>
                            <a:noFill/>
                          </a:ln>
                          <a:solidFill>
                            <a:schemeClr val="tx2"/>
                          </a:solidFill>
                          <a:effectLst/>
                          <a:uLnTx/>
                          <a:uFillTx/>
                          <a:latin typeface="+mn-lt"/>
                          <a:ea typeface="+mn-ea"/>
                          <a:cs typeface="+mn-cs"/>
                        </a:rPr>
                        <a:t>Connection of stationary and mobile participants over 5G to an existing SINEMA Remote Connect server</a:t>
                      </a:r>
                    </a:p>
                    <a:p>
                      <a:pPr marL="0" indent="0" algn="l" defTabSz="914400" rtl="0" eaLnBrk="1" latinLnBrk="0" hangingPunct="1">
                        <a:lnSpc>
                          <a:spcPct val="100000"/>
                        </a:lnSpc>
                        <a:spcBef>
                          <a:spcPts val="0"/>
                        </a:spcBef>
                        <a:spcAft>
                          <a:spcPts val="0"/>
                        </a:spcAft>
                        <a:buClr>
                          <a:schemeClr val="accent1"/>
                        </a:buClr>
                        <a:buFont typeface="Arial" panose="020B0604020202020204" pitchFamily="34" charset="0"/>
                        <a:buNone/>
                      </a:pPr>
                      <a:endParaRPr lang="en-US" sz="1200" kern="1200" dirty="0">
                        <a:solidFill>
                          <a:schemeClr val="tx2"/>
                        </a:solidFill>
                        <a:latin typeface="+mn-lt"/>
                        <a:ea typeface="+mn-ea"/>
                        <a:cs typeface="+mn-cs"/>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1195">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Solution</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31181">
                <a:tc>
                  <a:txBody>
                    <a:bodyPr/>
                    <a:lstStyle/>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SCALANCE MUM856-1 with its IP65 enclosure enables the connection of stationary and mobile participants to public 5G networks and offers SINEMA Remote Connect support</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User-friendly setup of devices with routing/ NAT information in SINEMA Remote Connect</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Access to machinery/ installations is secured by security mechanisms (OpenVPN) and integrated stateful inspection </a:t>
                      </a:r>
                      <a:r>
                        <a:rPr kumimoji="0" lang="en-US" sz="1200" b="0" i="0" u="none" strike="noStrike" kern="1200" cap="none" spc="0" normalizeH="0" baseline="0">
                          <a:ln>
                            <a:noFill/>
                          </a:ln>
                          <a:solidFill>
                            <a:schemeClr val="tx2"/>
                          </a:solidFill>
                          <a:effectLst/>
                          <a:uLnTx/>
                          <a:uFillTx/>
                          <a:latin typeface="+mn-lt"/>
                          <a:ea typeface="+mn-ea"/>
                          <a:cs typeface="+mn-cs"/>
                        </a:rPr>
                        <a:t>firewall </a:t>
                      </a:r>
                      <a:br>
                        <a:rPr lang="en-US" altLang="de-DE" sz="1200" kern="1200">
                          <a:solidFill>
                            <a:schemeClr val="tx2"/>
                          </a:solidFill>
                          <a:latin typeface="+mn-lt"/>
                          <a:ea typeface="+mn-ea"/>
                          <a:cs typeface="+mn-cs"/>
                        </a:rPr>
                      </a:br>
                      <a:endParaRPr lang="en-US" altLang="de-DE" sz="1200" kern="1200">
                        <a:solidFill>
                          <a:schemeClr val="tx2"/>
                        </a:solidFill>
                        <a:latin typeface="+mn-lt"/>
                        <a:ea typeface="+mn-ea"/>
                        <a:cs typeface="+mn-cs"/>
                      </a:endParaRPr>
                    </a:p>
                    <a:p>
                      <a:pPr marL="0" indent="0" algn="l" defTabSz="914400" rtl="0" eaLnBrk="1" latinLnBrk="0" hangingPunct="1">
                        <a:lnSpc>
                          <a:spcPct val="100000"/>
                        </a:lnSpc>
                        <a:spcBef>
                          <a:spcPts val="0"/>
                        </a:spcBef>
                        <a:spcAft>
                          <a:spcPts val="0"/>
                        </a:spcAft>
                        <a:buClr>
                          <a:srgbClr val="879BAA"/>
                        </a:buClr>
                        <a:buFont typeface="Arial" panose="020B0604020202020204" pitchFamily="34" charset="0"/>
                        <a:buNone/>
                      </a:pPr>
                      <a:r>
                        <a:rPr lang="en-US" altLang="de-DE" sz="1600" b="1" i="0" u="none" kern="1200" baseline="0">
                          <a:solidFill>
                            <a:srgbClr val="009999"/>
                          </a:solidFill>
                          <a:latin typeface="+mn-lt"/>
                          <a:ea typeface="+mn-ea"/>
                          <a:cs typeface="+mn-cs"/>
                        </a:rPr>
                        <a:t>Benefits</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a:ln>
                            <a:noFill/>
                          </a:ln>
                          <a:solidFill>
                            <a:schemeClr val="tx2"/>
                          </a:solidFill>
                          <a:effectLst/>
                          <a:uLnTx/>
                          <a:uFillTx/>
                          <a:latin typeface="+mn-lt"/>
                          <a:ea typeface="+mn-ea"/>
                          <a:cs typeface="+mn-cs"/>
                        </a:rPr>
                        <a:t>Realization </a:t>
                      </a:r>
                      <a:r>
                        <a:rPr kumimoji="0" lang="en-US" sz="1200" b="0" i="0" u="none" strike="noStrike" kern="1200" cap="none" spc="0" normalizeH="0" baseline="0" dirty="0">
                          <a:ln>
                            <a:noFill/>
                          </a:ln>
                          <a:solidFill>
                            <a:schemeClr val="tx2"/>
                          </a:solidFill>
                          <a:effectLst/>
                          <a:uLnTx/>
                          <a:uFillTx/>
                          <a:latin typeface="+mn-lt"/>
                          <a:ea typeface="+mn-ea"/>
                          <a:cs typeface="+mn-cs"/>
                        </a:rPr>
                        <a:t>of data-intensive applications with high bandwidth</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Can be used without specialized IT knowledge</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Transparent IP communication</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Prevention of manipulation and unauthorized access through secure data transmission and authentication</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Seamless technology – proven workflow is maintained</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Cost savings – same remote maintenance system in all networks</a:t>
                      </a:r>
                    </a:p>
                    <a:p>
                      <a:pPr marL="182563" marR="0" lvl="0" indent="-182563"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Cell protection concept (defense in depth) also with 5G </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5" name="Grafik 4">
            <a:extLst>
              <a:ext uri="{FF2B5EF4-FFF2-40B4-BE49-F238E27FC236}">
                <a16:creationId xmlns:a16="http://schemas.microsoft.com/office/drawing/2014/main" id="{DD84B78F-A3E6-2D76-0226-78DE1C8CEE04}"/>
              </a:ext>
            </a:extLst>
          </p:cNvPr>
          <p:cNvPicPr>
            <a:picLocks noChangeAspect="1"/>
          </p:cNvPicPr>
          <p:nvPr/>
        </p:nvPicPr>
        <p:blipFill>
          <a:blip r:embed="rId8"/>
          <a:stretch>
            <a:fillRect/>
          </a:stretch>
        </p:blipFill>
        <p:spPr>
          <a:xfrm>
            <a:off x="6311573" y="2281188"/>
            <a:ext cx="5602268" cy="2890770"/>
          </a:xfrm>
          <a:prstGeom prst="rect">
            <a:avLst/>
          </a:prstGeom>
        </p:spPr>
      </p:pic>
    </p:spTree>
    <p:custDataLst>
      <p:tags r:id="rId1"/>
    </p:custDataLst>
    <p:extLst>
      <p:ext uri="{BB962C8B-B14F-4D97-AF65-F5344CB8AC3E}">
        <p14:creationId xmlns:p14="http://schemas.microsoft.com/office/powerpoint/2010/main" val="176301514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p:txBody>
          <a:bodyPr/>
          <a:lstStyle/>
          <a:p>
            <a:pPr lvl="1"/>
            <a:r>
              <a:rPr lang="en-US" dirty="0"/>
              <a:t>Teemu Kumpulainen</a:t>
            </a:r>
          </a:p>
          <a:p>
            <a:r>
              <a:rPr lang="en-US" dirty="0"/>
              <a:t>Portfolio </a:t>
            </a:r>
            <a:r>
              <a:rPr lang="en-US" dirty="0" err="1"/>
              <a:t>Consutant</a:t>
            </a:r>
            <a:r>
              <a:rPr lang="en-US" dirty="0"/>
              <a:t> Professional</a:t>
            </a:r>
            <a:br>
              <a:rPr lang="en-US" dirty="0"/>
            </a:br>
            <a:endParaRPr lang="en-US" dirty="0"/>
          </a:p>
          <a:p>
            <a:pPr lvl="1"/>
            <a:r>
              <a:rPr lang="en-US" b="0" dirty="0"/>
              <a:t>E-mail: </a:t>
            </a:r>
            <a:r>
              <a:rPr lang="en-US" b="0" dirty="0">
                <a:hlinkClick r:id="rId3"/>
              </a:rPr>
              <a:t>teemu.Kumpulainen@siemens.com</a:t>
            </a:r>
            <a:r>
              <a:rPr lang="en-US" b="0" dirty="0"/>
              <a:t> </a:t>
            </a:r>
          </a:p>
          <a:p>
            <a:pPr lvl="1"/>
            <a:r>
              <a:rPr lang="en-US" b="0" dirty="0"/>
              <a:t>LinkedIn: </a:t>
            </a:r>
            <a:r>
              <a:rPr lang="en-US" b="0" dirty="0">
                <a:hlinkClick r:id="rId4"/>
              </a:rPr>
              <a:t>https://www.linkedin.com/in/teemu-kumpulainen-75406893/</a:t>
            </a:r>
            <a:r>
              <a:rPr lang="en-US" b="0" dirty="0"/>
              <a:t> </a:t>
            </a:r>
          </a:p>
          <a:p>
            <a:r>
              <a:rPr lang="en-US" dirty="0"/>
              <a:t>Website: </a:t>
            </a:r>
            <a:r>
              <a:rPr lang="en-US" dirty="0">
                <a:hlinkClick r:id="rId5"/>
              </a:rPr>
              <a:t>www.siemens.com/industrial-5g</a:t>
            </a:r>
            <a:endParaRPr lang="en-US" dirty="0"/>
          </a:p>
          <a:p>
            <a:pPr lvl="1"/>
            <a:endParaRPr lang="en-US" dirty="0"/>
          </a:p>
          <a:p>
            <a:pPr lvl="1"/>
            <a:endParaRPr lang="en-US" dirty="0"/>
          </a:p>
          <a:p>
            <a:pPr lvl="1"/>
            <a:endParaRPr lang="en-US"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4" name="Slide Number Placeholder">
            <a:extLst>
              <a:ext uri="{FF2B5EF4-FFF2-40B4-BE49-F238E27FC236}">
                <a16:creationId xmlns:a16="http://schemas.microsoft.com/office/drawing/2014/main" id="{DEC03887-CC62-463B-9CCE-729F072DFB79}"/>
              </a:ext>
            </a:extLst>
          </p:cNvPr>
          <p:cNvSpPr>
            <a:spLocks noGrp="1"/>
          </p:cNvSpPr>
          <p:nvPr>
            <p:ph type="sldNum" sz="quarter" idx="11"/>
          </p:nvPr>
        </p:nvSpPr>
        <p:spPr/>
        <p:txBody>
          <a:bodyPr/>
          <a:lstStyle/>
          <a:p>
            <a:r>
              <a:rPr lang="en-US" dirty="0"/>
              <a:t>Page </a:t>
            </a:r>
            <a:fld id="{15EBE321-CBB1-4E91-BD14-37C8D44326FB}" type="slidenum">
              <a:rPr lang="en-US" smtClean="0"/>
              <a:pPr/>
              <a:t>11</a:t>
            </a:fld>
            <a:endParaRPr lang="en-US" dirty="0"/>
          </a:p>
        </p:txBody>
      </p:sp>
    </p:spTree>
    <p:extLst>
      <p:ext uri="{BB962C8B-B14F-4D97-AF65-F5344CB8AC3E}">
        <p14:creationId xmlns:p14="http://schemas.microsoft.com/office/powerpoint/2010/main" val="598933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curity information</a:t>
            </a:r>
          </a:p>
        </p:txBody>
      </p:sp>
      <p:sp>
        <p:nvSpPr>
          <p:cNvPr id="8" name="Content Placeholder 1"/>
          <p:cNvSpPr txBox="1">
            <a:spLocks/>
          </p:cNvSpPr>
          <p:nvPr/>
        </p:nvSpPr>
        <p:spPr bwMode="gray">
          <a:xfrm>
            <a:off x="626736" y="1449363"/>
            <a:ext cx="11082915" cy="47505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mn-lt"/>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mn-lt"/>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9pPr>
          </a:lstStyle>
          <a:p>
            <a:r>
              <a:rPr lang="en-US" sz="1399" dirty="0"/>
              <a:t>Siemens provides products and solutions with industrial security functions that support the secure operation of plants, systems, machines and networks.</a:t>
            </a:r>
          </a:p>
          <a:p>
            <a:endParaRPr lang="en-US" sz="1399"/>
          </a:p>
          <a:p>
            <a:r>
              <a:rPr lang="en-US" sz="1399"/>
              <a:t>In </a:t>
            </a:r>
            <a:r>
              <a:rPr lang="en-US" sz="1399" dirty="0"/>
              <a:t>order to protect plants, systems, machines and networks against cyber threats, it is necessary to implement – and continuously maintain – a holistic, state-of-the-art industrial security concept. Siemens’ products and solutions constitute one element of such a concept.</a:t>
            </a:r>
          </a:p>
          <a:p>
            <a:endParaRPr lang="en-US" sz="1399"/>
          </a:p>
          <a:p>
            <a:r>
              <a:rPr lang="en-US" sz="1399"/>
              <a:t>Customers </a:t>
            </a:r>
            <a:r>
              <a:rPr lang="en-US" sz="1399" dirty="0"/>
              <a:t>are responsible for preventing unauthorized access to their plants, systems, machines and networks. Such systems, machines and components should only be connected to an enterprise network or the internet if and to the extent such a connection is necessary and only when appropriate security measures (e.g. firewalls and/or network segmentation) are in place.</a:t>
            </a:r>
          </a:p>
          <a:p>
            <a:endParaRPr lang="en-US" sz="1399"/>
          </a:p>
          <a:p>
            <a:r>
              <a:rPr lang="en-US" sz="1399"/>
              <a:t>For </a:t>
            </a:r>
            <a:r>
              <a:rPr lang="en-US" sz="1399" dirty="0"/>
              <a:t>additional information on industrial security measures that may be implemented, please visit </a:t>
            </a:r>
            <a:r>
              <a:rPr lang="en-US" sz="1399" u="sng" dirty="0">
                <a:hlinkClick r:id="rId4"/>
              </a:rPr>
              <a:t>https://www.siemens.com/industrialsecurity</a:t>
            </a:r>
            <a:r>
              <a:rPr lang="en-US" sz="1399" dirty="0"/>
              <a:t>.</a:t>
            </a:r>
          </a:p>
          <a:p>
            <a:endParaRPr lang="en-US" sz="1399"/>
          </a:p>
          <a:p>
            <a:r>
              <a:rPr lang="en-US" sz="1399"/>
              <a:t>Siemens</a:t>
            </a:r>
            <a:r>
              <a:rPr lang="en-US" sz="1399" dirty="0"/>
              <a:t>’ products and solutions undergo continuous development to make them more secure. Siemens strongly recommends that product updates are applied as soon as they are available and that the latest product versions are used. Use of product versions that are no longer supported, and failure to apply the latest updates may increase customer’s exposure to cyber threats.</a:t>
            </a:r>
          </a:p>
          <a:p>
            <a:endParaRPr lang="en-US" sz="1399"/>
          </a:p>
          <a:p>
            <a:r>
              <a:rPr lang="en-US" sz="1399"/>
              <a:t>To </a:t>
            </a:r>
            <a:r>
              <a:rPr lang="en-US" sz="1399" dirty="0"/>
              <a:t>stay informed about product updates, subscribe to the Siemens Industrial Security RSS Feed under </a:t>
            </a:r>
            <a:r>
              <a:rPr lang="en-US" sz="1399" u="sng" dirty="0">
                <a:hlinkClick r:id="rId4"/>
              </a:rPr>
              <a:t>https://www.siemens.com/</a:t>
            </a:r>
            <a:r>
              <a:rPr lang="en-US" sz="1399" u="sng">
                <a:hlinkClick r:id="rId4"/>
              </a:rPr>
              <a:t>industrialsecurity</a:t>
            </a:r>
            <a:r>
              <a:rPr lang="en-US" sz="1399"/>
              <a:t>.</a:t>
            </a:r>
            <a:endParaRPr lang="en-US" sz="1399" dirty="0"/>
          </a:p>
        </p:txBody>
      </p:sp>
      <p:sp>
        <p:nvSpPr>
          <p:cNvPr id="2" name="Foliennummernplatzhalter 1">
            <a:extLst>
              <a:ext uri="{FF2B5EF4-FFF2-40B4-BE49-F238E27FC236}">
                <a16:creationId xmlns:a16="http://schemas.microsoft.com/office/drawing/2014/main" id="{64C39669-E828-4962-91D0-C42AA387BAFC}"/>
              </a:ext>
            </a:extLst>
          </p:cNvPr>
          <p:cNvSpPr>
            <a:spLocks noGrp="1"/>
          </p:cNvSpPr>
          <p:nvPr>
            <p:ph type="sldNum" sz="quarter" idx="12"/>
          </p:nvPr>
        </p:nvSpPr>
        <p:spPr/>
        <p:txBody>
          <a:bodyPr/>
          <a:lstStyle/>
          <a:p>
            <a:r>
              <a:rPr lang="en-US" dirty="0"/>
              <a:t>Page </a:t>
            </a:r>
            <a:fld id="{99E26495-FA13-4534-B451-FB78AC0E3177}" type="slidenum">
              <a:rPr lang="en-US" smtClean="0"/>
              <a:pPr/>
              <a:t>12</a:t>
            </a:fld>
            <a:endParaRPr lang="en-US" dirty="0"/>
          </a:p>
        </p:txBody>
      </p:sp>
      <p:sp>
        <p:nvSpPr>
          <p:cNvPr id="4" name="Fußzeilenplatzhalter 3">
            <a:extLst>
              <a:ext uri="{FF2B5EF4-FFF2-40B4-BE49-F238E27FC236}">
                <a16:creationId xmlns:a16="http://schemas.microsoft.com/office/drawing/2014/main" id="{73385584-A393-45DC-99D9-61431F2C7BAB}"/>
              </a:ext>
            </a:extLst>
          </p:cNvPr>
          <p:cNvSpPr>
            <a:spLocks noGrp="1"/>
          </p:cNvSpPr>
          <p:nvPr>
            <p:ph type="ftr" sz="quarter" idx="3"/>
          </p:nvPr>
        </p:nvSpPr>
        <p:spPr/>
        <p:txBody>
          <a:bodyPr/>
          <a:lstStyle/>
          <a:p>
            <a:r>
              <a:rPr lang="en-US"/>
              <a:t>Unrestricted © Siemens 2023</a:t>
            </a:r>
            <a:endParaRPr lang="en-US" dirty="0"/>
          </a:p>
        </p:txBody>
      </p:sp>
    </p:spTree>
    <p:custDataLst>
      <p:tags r:id="rId1"/>
    </p:custDataLst>
    <p:extLst>
      <p:ext uri="{BB962C8B-B14F-4D97-AF65-F5344CB8AC3E}">
        <p14:creationId xmlns:p14="http://schemas.microsoft.com/office/powerpoint/2010/main" val="1816175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9CEF81D-3B55-47E5-94B9-C519906E5A08}"/>
              </a:ext>
            </a:extLst>
          </p:cNvPr>
          <p:cNvSpPr>
            <a:spLocks noGrp="1"/>
          </p:cNvSpPr>
          <p:nvPr>
            <p:ph type="title"/>
          </p:nvPr>
        </p:nvSpPr>
        <p:spPr/>
        <p:txBody>
          <a:bodyPr/>
          <a:lstStyle/>
          <a:p>
            <a:r>
              <a:rPr lang="en-US" dirty="0"/>
              <a:t>Disclaimer</a:t>
            </a:r>
          </a:p>
        </p:txBody>
      </p:sp>
      <p:sp>
        <p:nvSpPr>
          <p:cNvPr id="3" name="Content Placeholder">
            <a:extLst>
              <a:ext uri="{FF2B5EF4-FFF2-40B4-BE49-F238E27FC236}">
                <a16:creationId xmlns:a16="http://schemas.microsoft.com/office/drawing/2014/main" id="{536CB846-BF47-4D54-AA64-A816E2B1BA57}"/>
              </a:ext>
            </a:extLst>
          </p:cNvPr>
          <p:cNvSpPr>
            <a:spLocks noGrp="1"/>
          </p:cNvSpPr>
          <p:nvPr>
            <p:ph idx="1"/>
          </p:nvPr>
        </p:nvSpPr>
        <p:spPr/>
        <p:txBody>
          <a:bodyPr/>
          <a:lstStyle/>
          <a:p>
            <a:r>
              <a:rPr lang="en-US" dirty="0"/>
              <a:t>© Siemens 2023</a:t>
            </a:r>
          </a:p>
          <a:p>
            <a:endParaRPr lang="en-US" dirty="0"/>
          </a:p>
          <a:p>
            <a:r>
              <a:rPr lang="en-US"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US" dirty="0"/>
          </a:p>
          <a:p>
            <a:r>
              <a:rPr lang="en-US" dirty="0"/>
              <a:t>All product designations may be trademarks or other rights of </a:t>
            </a:r>
            <a:br>
              <a:rPr lang="en-US" dirty="0"/>
            </a:br>
            <a:r>
              <a:rPr lang="en-US" dirty="0"/>
              <a:t>Siemens AG, its affiliated companies or other companies whose use by third parties for their own purposes could violate the rights of the respective owner.</a:t>
            </a:r>
          </a:p>
        </p:txBody>
      </p:sp>
      <p:sp>
        <p:nvSpPr>
          <p:cNvPr id="5" name="Slide Number Placeholder">
            <a:extLst>
              <a:ext uri="{FF2B5EF4-FFF2-40B4-BE49-F238E27FC236}">
                <a16:creationId xmlns:a16="http://schemas.microsoft.com/office/drawing/2014/main" id="{8DB1DAF3-971A-4A20-8FEB-5F5A28F00306}"/>
              </a:ext>
            </a:extLst>
          </p:cNvPr>
          <p:cNvSpPr>
            <a:spLocks noGrp="1"/>
          </p:cNvSpPr>
          <p:nvPr>
            <p:ph type="sldNum" sz="quarter" idx="11"/>
          </p:nvPr>
        </p:nvSpPr>
        <p:spPr/>
        <p:txBody>
          <a:bodyPr/>
          <a:lstStyle/>
          <a:p>
            <a:r>
              <a:rPr lang="en-US" dirty="0"/>
              <a:t>Page </a:t>
            </a:r>
            <a:fld id="{15EBE321-CBB1-4E91-BD14-37C8D44326FB}" type="slidenum">
              <a:rPr lang="en-US"/>
              <a:pPr/>
              <a:t>13</a:t>
            </a:fld>
            <a:endParaRPr lang="en-US" dirty="0"/>
          </a:p>
        </p:txBody>
      </p:sp>
      <p:sp>
        <p:nvSpPr>
          <p:cNvPr id="6" name="Fußzeilenplatzhalter 5">
            <a:extLst>
              <a:ext uri="{FF2B5EF4-FFF2-40B4-BE49-F238E27FC236}">
                <a16:creationId xmlns:a16="http://schemas.microsoft.com/office/drawing/2014/main" id="{17897DA8-7A08-4EF8-944B-5DB5E561F896}"/>
              </a:ext>
            </a:extLst>
          </p:cNvPr>
          <p:cNvSpPr>
            <a:spLocks noGrp="1"/>
          </p:cNvSpPr>
          <p:nvPr>
            <p:ph type="ftr" sz="quarter" idx="10"/>
          </p:nvPr>
        </p:nvSpPr>
        <p:spPr/>
        <p:txBody>
          <a:bodyPr/>
          <a:lstStyle/>
          <a:p>
            <a:pPr>
              <a:lnSpc>
                <a:spcPct val="100000"/>
              </a:lnSpc>
            </a:pPr>
            <a:r>
              <a:rPr lang="en-US"/>
              <a:t>Unrestricted © Siemens 2023</a:t>
            </a:r>
            <a:endParaRPr lang="en-US" dirty="0"/>
          </a:p>
        </p:txBody>
      </p:sp>
    </p:spTree>
    <p:extLst>
      <p:ext uri="{BB962C8B-B14F-4D97-AF65-F5344CB8AC3E}">
        <p14:creationId xmlns:p14="http://schemas.microsoft.com/office/powerpoint/2010/main" val="2435204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41DC5-242F-4023-8B9B-7B10E18C5FE7}"/>
              </a:ext>
            </a:extLst>
          </p:cNvPr>
          <p:cNvSpPr>
            <a:spLocks noGrp="1"/>
          </p:cNvSpPr>
          <p:nvPr>
            <p:ph type="title"/>
          </p:nvPr>
        </p:nvSpPr>
        <p:spPr/>
        <p:txBody>
          <a:bodyPr/>
          <a:lstStyle/>
          <a:p>
            <a:r>
              <a:rPr lang="en-US" dirty="0"/>
              <a:t>Potential industrial applications with Industrial 5G </a:t>
            </a:r>
          </a:p>
        </p:txBody>
      </p:sp>
      <p:sp>
        <p:nvSpPr>
          <p:cNvPr id="3" name="Fußzeilenplatzhalter 2">
            <a:extLst>
              <a:ext uri="{FF2B5EF4-FFF2-40B4-BE49-F238E27FC236}">
                <a16:creationId xmlns:a16="http://schemas.microsoft.com/office/drawing/2014/main" id="{80359F6E-8412-415F-BD28-5575D98D862C}"/>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4" name="Foliennummernplatzhalter 3">
            <a:extLst>
              <a:ext uri="{FF2B5EF4-FFF2-40B4-BE49-F238E27FC236}">
                <a16:creationId xmlns:a16="http://schemas.microsoft.com/office/drawing/2014/main" id="{D586A2DD-FAD2-468B-BB6E-81D75C6CD815}"/>
              </a:ext>
            </a:extLst>
          </p:cNvPr>
          <p:cNvSpPr>
            <a:spLocks noGrp="1"/>
          </p:cNvSpPr>
          <p:nvPr>
            <p:ph type="sldNum" sz="quarter" idx="11"/>
          </p:nvPr>
        </p:nvSpPr>
        <p:spPr/>
        <p:txBody>
          <a:bodyPr/>
          <a:lstStyle/>
          <a:p>
            <a:r>
              <a:rPr lang="en-US" dirty="0"/>
              <a:t>Page </a:t>
            </a:r>
            <a:fld id="{15EBE321-CBB1-4E91-BD14-37C8D44326FB}" type="slidenum">
              <a:rPr lang="en-US" smtClean="0"/>
              <a:pPr/>
              <a:t>2</a:t>
            </a:fld>
            <a:endParaRPr lang="en-US" dirty="0"/>
          </a:p>
        </p:txBody>
      </p:sp>
      <p:pic>
        <p:nvPicPr>
          <p:cNvPr id="5" name="Grafik 4" descr="Ein Bild, das Person, Mann enthält.&#10;&#10;Automatisch generierte Beschreibung">
            <a:extLst>
              <a:ext uri="{FF2B5EF4-FFF2-40B4-BE49-F238E27FC236}">
                <a16:creationId xmlns:a16="http://schemas.microsoft.com/office/drawing/2014/main" id="{73F5EAD0-8B72-45B3-BB3A-0A6E9592EF6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299886" y="1425796"/>
            <a:ext cx="3596400" cy="2077677"/>
          </a:xfrm>
          <a:prstGeom prst="rect">
            <a:avLst/>
          </a:prstGeom>
        </p:spPr>
      </p:pic>
      <p:pic>
        <p:nvPicPr>
          <p:cNvPr id="6" name="Grafik 5" descr="Ein Bild, das draußen, Wasser, groß, Sonnenuntergang enthält.&#10;&#10;Automatisch generierte Beschreibung">
            <a:extLst>
              <a:ext uri="{FF2B5EF4-FFF2-40B4-BE49-F238E27FC236}">
                <a16:creationId xmlns:a16="http://schemas.microsoft.com/office/drawing/2014/main" id="{53516F18-0AAB-4803-990A-DE885DC3D25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195041" y="1416560"/>
            <a:ext cx="3590930" cy="2086913"/>
          </a:xfrm>
          <a:prstGeom prst="rect">
            <a:avLst/>
          </a:prstGeom>
        </p:spPr>
      </p:pic>
      <p:pic>
        <p:nvPicPr>
          <p:cNvPr id="7" name="Grafik 6">
            <a:extLst>
              <a:ext uri="{FF2B5EF4-FFF2-40B4-BE49-F238E27FC236}">
                <a16:creationId xmlns:a16="http://schemas.microsoft.com/office/drawing/2014/main" id="{82CEA670-0AE7-4F7D-813B-DE360477397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3908" y="1416560"/>
            <a:ext cx="3596989" cy="2086913"/>
          </a:xfrm>
          <a:prstGeom prst="rect">
            <a:avLst/>
          </a:prstGeom>
        </p:spPr>
      </p:pic>
      <p:pic>
        <p:nvPicPr>
          <p:cNvPr id="8" name="Grafik 7">
            <a:extLst>
              <a:ext uri="{FF2B5EF4-FFF2-40B4-BE49-F238E27FC236}">
                <a16:creationId xmlns:a16="http://schemas.microsoft.com/office/drawing/2014/main" id="{364E1927-B36B-4FC6-A999-BDD7E9C6679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13909" y="3730527"/>
            <a:ext cx="3596989" cy="2086913"/>
          </a:xfrm>
          <a:prstGeom prst="rect">
            <a:avLst/>
          </a:prstGeom>
        </p:spPr>
      </p:pic>
      <p:pic>
        <p:nvPicPr>
          <p:cNvPr id="9" name="Grafik 8">
            <a:extLst>
              <a:ext uri="{FF2B5EF4-FFF2-40B4-BE49-F238E27FC236}">
                <a16:creationId xmlns:a16="http://schemas.microsoft.com/office/drawing/2014/main" id="{665D8763-A763-4262-BD39-0AAB6232125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297001" y="3730527"/>
            <a:ext cx="3596989" cy="2086913"/>
          </a:xfrm>
          <a:prstGeom prst="rect">
            <a:avLst/>
          </a:prstGeom>
        </p:spPr>
      </p:pic>
      <p:pic>
        <p:nvPicPr>
          <p:cNvPr id="10" name="Bildplatzhalter 4">
            <a:extLst>
              <a:ext uri="{FF2B5EF4-FFF2-40B4-BE49-F238E27FC236}">
                <a16:creationId xmlns:a16="http://schemas.microsoft.com/office/drawing/2014/main" id="{501446E4-C835-40EB-9DAE-2D8A774BD0E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gray">
          <a:xfrm>
            <a:off x="8187846" y="3730527"/>
            <a:ext cx="3590246" cy="2086913"/>
          </a:xfrm>
          <a:prstGeom prst="rect">
            <a:avLst/>
          </a:prstGeom>
        </p:spPr>
      </p:pic>
      <p:sp>
        <p:nvSpPr>
          <p:cNvPr id="11" name="Textfeld 10">
            <a:extLst>
              <a:ext uri="{FF2B5EF4-FFF2-40B4-BE49-F238E27FC236}">
                <a16:creationId xmlns:a16="http://schemas.microsoft.com/office/drawing/2014/main" id="{7EA82768-DC14-4394-980B-FBDB176AAD2F}"/>
              </a:ext>
            </a:extLst>
          </p:cNvPr>
          <p:cNvSpPr txBox="1"/>
          <p:nvPr/>
        </p:nvSpPr>
        <p:spPr>
          <a:xfrm>
            <a:off x="413909" y="3071925"/>
            <a:ext cx="3598126"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Mobile Equipment</a:t>
            </a:r>
            <a:endParaRPr lang="en-US" sz="1798" dirty="0">
              <a:solidFill>
                <a:prstClr val="white"/>
              </a:solidFill>
              <a:latin typeface="Arial"/>
            </a:endParaRPr>
          </a:p>
        </p:txBody>
      </p:sp>
      <p:sp>
        <p:nvSpPr>
          <p:cNvPr id="12" name="Textfeld 11">
            <a:extLst>
              <a:ext uri="{FF2B5EF4-FFF2-40B4-BE49-F238E27FC236}">
                <a16:creationId xmlns:a16="http://schemas.microsoft.com/office/drawing/2014/main" id="{FF4663C2-FF44-4719-98D8-E36D3487F806}"/>
              </a:ext>
            </a:extLst>
          </p:cNvPr>
          <p:cNvSpPr txBox="1"/>
          <p:nvPr/>
        </p:nvSpPr>
        <p:spPr>
          <a:xfrm>
            <a:off x="4297001" y="3071925"/>
            <a:ext cx="3598126"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Remote Access</a:t>
            </a:r>
            <a:endParaRPr lang="en-US" sz="1798" dirty="0">
              <a:solidFill>
                <a:prstClr val="white"/>
              </a:solidFill>
              <a:latin typeface="Arial"/>
            </a:endParaRPr>
          </a:p>
        </p:txBody>
      </p:sp>
      <p:sp>
        <p:nvSpPr>
          <p:cNvPr id="13" name="Textfeld 12">
            <a:extLst>
              <a:ext uri="{FF2B5EF4-FFF2-40B4-BE49-F238E27FC236}">
                <a16:creationId xmlns:a16="http://schemas.microsoft.com/office/drawing/2014/main" id="{4CF3AE1A-34C9-46E9-A522-DBA67D4AC578}"/>
              </a:ext>
            </a:extLst>
          </p:cNvPr>
          <p:cNvSpPr txBox="1"/>
          <p:nvPr/>
        </p:nvSpPr>
        <p:spPr>
          <a:xfrm>
            <a:off x="8187844" y="3071925"/>
            <a:ext cx="3598126"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Backhaul</a:t>
            </a:r>
            <a:endParaRPr lang="en-US" sz="1798" dirty="0">
              <a:solidFill>
                <a:prstClr val="white"/>
              </a:solidFill>
              <a:latin typeface="Arial"/>
            </a:endParaRPr>
          </a:p>
        </p:txBody>
      </p:sp>
      <p:sp>
        <p:nvSpPr>
          <p:cNvPr id="14" name="Textfeld 13">
            <a:extLst>
              <a:ext uri="{FF2B5EF4-FFF2-40B4-BE49-F238E27FC236}">
                <a16:creationId xmlns:a16="http://schemas.microsoft.com/office/drawing/2014/main" id="{5D20CF72-C973-4F12-9686-E908668DF897}"/>
              </a:ext>
            </a:extLst>
          </p:cNvPr>
          <p:cNvSpPr txBox="1"/>
          <p:nvPr/>
        </p:nvSpPr>
        <p:spPr>
          <a:xfrm>
            <a:off x="413909" y="5385891"/>
            <a:ext cx="3598126"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Autonomous Machines</a:t>
            </a:r>
            <a:endParaRPr lang="en-US" sz="1798" dirty="0">
              <a:solidFill>
                <a:prstClr val="white"/>
              </a:solidFill>
              <a:latin typeface="Arial"/>
            </a:endParaRPr>
          </a:p>
        </p:txBody>
      </p:sp>
      <p:sp>
        <p:nvSpPr>
          <p:cNvPr id="15" name="Textfeld 14">
            <a:extLst>
              <a:ext uri="{FF2B5EF4-FFF2-40B4-BE49-F238E27FC236}">
                <a16:creationId xmlns:a16="http://schemas.microsoft.com/office/drawing/2014/main" id="{3AABF73D-3525-415F-906F-FF2C13C4DBE7}"/>
              </a:ext>
            </a:extLst>
          </p:cNvPr>
          <p:cNvSpPr txBox="1"/>
          <p:nvPr/>
        </p:nvSpPr>
        <p:spPr>
          <a:xfrm>
            <a:off x="4299462" y="5385891"/>
            <a:ext cx="3594528"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Autonomous Logistics</a:t>
            </a:r>
            <a:endParaRPr lang="en-US" sz="1798" dirty="0">
              <a:solidFill>
                <a:prstClr val="white"/>
              </a:solidFill>
              <a:latin typeface="Arial"/>
            </a:endParaRPr>
          </a:p>
        </p:txBody>
      </p:sp>
      <p:sp>
        <p:nvSpPr>
          <p:cNvPr id="16" name="Textfeld 15">
            <a:extLst>
              <a:ext uri="{FF2B5EF4-FFF2-40B4-BE49-F238E27FC236}">
                <a16:creationId xmlns:a16="http://schemas.microsoft.com/office/drawing/2014/main" id="{FB108004-AC94-4988-90DE-9CE6FA360438}"/>
              </a:ext>
            </a:extLst>
          </p:cNvPr>
          <p:cNvSpPr txBox="1"/>
          <p:nvPr/>
        </p:nvSpPr>
        <p:spPr>
          <a:xfrm>
            <a:off x="8187162" y="5385891"/>
            <a:ext cx="3590930" cy="431550"/>
          </a:xfrm>
          <a:prstGeom prst="rect">
            <a:avLst/>
          </a:prstGeom>
          <a:gradFill flip="none" rotWithShape="1">
            <a:gsLst>
              <a:gs pos="0">
                <a:srgbClr val="000028">
                  <a:alpha val="0"/>
                </a:srgbClr>
              </a:gs>
              <a:gs pos="100000">
                <a:srgbClr val="000028"/>
              </a:gs>
            </a:gsLst>
            <a:lin ang="5400000" scaled="1"/>
            <a:tileRect/>
          </a:gradFill>
        </p:spPr>
        <p:txBody>
          <a:bodyPr wrap="square" lIns="107888" tIns="0" rIns="0" bIns="0" rtlCol="0" anchor="ctr" anchorCtr="0">
            <a:noAutofit/>
          </a:bodyPr>
          <a:lstStyle/>
          <a:p>
            <a:r>
              <a:rPr lang="en-US" sz="1798">
                <a:solidFill>
                  <a:prstClr val="white"/>
                </a:solidFill>
                <a:latin typeface="Arial"/>
              </a:rPr>
              <a:t>Edge</a:t>
            </a:r>
            <a:endParaRPr lang="en-US" sz="1798" dirty="0">
              <a:solidFill>
                <a:prstClr val="white"/>
              </a:solidFill>
              <a:latin typeface="Arial"/>
            </a:endParaRPr>
          </a:p>
        </p:txBody>
      </p:sp>
    </p:spTree>
    <p:extLst>
      <p:ext uri="{BB962C8B-B14F-4D97-AF65-F5344CB8AC3E}">
        <p14:creationId xmlns:p14="http://schemas.microsoft.com/office/powerpoint/2010/main" val="3491651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C7F2EE56-42BE-953C-9E47-EB60ABE6336C}"/>
              </a:ext>
            </a:extLst>
          </p:cNvPr>
          <p:cNvGrpSpPr/>
          <p:nvPr/>
        </p:nvGrpSpPr>
        <p:grpSpPr>
          <a:xfrm>
            <a:off x="3810002" y="2045703"/>
            <a:ext cx="4581868" cy="3761371"/>
            <a:chOff x="3810002" y="2045703"/>
            <a:chExt cx="4581868" cy="3761371"/>
          </a:xfrm>
        </p:grpSpPr>
        <p:sp>
          <p:nvSpPr>
            <p:cNvPr id="69" name="Freihandform: Form 68">
              <a:extLst>
                <a:ext uri="{FF2B5EF4-FFF2-40B4-BE49-F238E27FC236}">
                  <a16:creationId xmlns:a16="http://schemas.microsoft.com/office/drawing/2014/main" id="{7135510E-8D10-F9FA-83BE-D94C142510FF}"/>
                </a:ext>
              </a:extLst>
            </p:cNvPr>
            <p:cNvSpPr/>
            <p:nvPr/>
          </p:nvSpPr>
          <p:spPr bwMode="gray">
            <a:xfrm>
              <a:off x="4150008" y="4068548"/>
              <a:ext cx="1883471" cy="1546845"/>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3" y="681704"/>
                  </a:moveTo>
                  <a:lnTo>
                    <a:pt x="2361533" y="2045113"/>
                  </a:lnTo>
                  <a:lnTo>
                    <a:pt x="0" y="2045113"/>
                  </a:lnTo>
                  <a:lnTo>
                    <a:pt x="1180814" y="0"/>
                  </a:lnTo>
                  <a:close/>
                </a:path>
              </a:pathLst>
            </a:custGeom>
            <a:gradFill flip="none" rotWithShape="1">
              <a:gsLst>
                <a:gs pos="4000">
                  <a:srgbClr val="00646E"/>
                </a:gs>
                <a:gs pos="100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180000" rtlCol="0" anchor="b" anchorCtr="0"/>
            <a:lstStyle/>
            <a:p>
              <a:pPr algn="r" fontAlgn="base">
                <a:lnSpc>
                  <a:spcPct val="110000"/>
                </a:lnSpc>
                <a:spcBef>
                  <a:spcPct val="0"/>
                </a:spcBef>
                <a:spcAft>
                  <a:spcPct val="0"/>
                </a:spcAft>
                <a:buClr>
                  <a:srgbClr val="009999"/>
                </a:buClr>
              </a:pPr>
              <a:r>
                <a:rPr lang="en-US" sz="1400" b="1" kern="0">
                  <a:solidFill>
                    <a:schemeClr val="accent2"/>
                  </a:solidFill>
                  <a:latin typeface="Arial" pitchFamily="34" charset="0"/>
                  <a:cs typeface="Arial" pitchFamily="34" charset="0"/>
                </a:rPr>
                <a:t>Number</a:t>
              </a:r>
              <a:br>
                <a:rPr lang="en-US" sz="1400" b="1" kern="0">
                  <a:solidFill>
                    <a:schemeClr val="accent2"/>
                  </a:solidFill>
                  <a:latin typeface="Arial" pitchFamily="34" charset="0"/>
                  <a:cs typeface="Arial" pitchFamily="34" charset="0"/>
                </a:rPr>
              </a:br>
              <a:r>
                <a:rPr lang="en-US" sz="1400" b="1" kern="0">
                  <a:solidFill>
                    <a:schemeClr val="accent2"/>
                  </a:solidFill>
                  <a:latin typeface="Arial" pitchFamily="34" charset="0"/>
                  <a:cs typeface="Arial" pitchFamily="34" charset="0"/>
                </a:rPr>
                <a:t>of devices</a:t>
              </a:r>
            </a:p>
            <a:p>
              <a:pPr algn="r" fontAlgn="base">
                <a:lnSpc>
                  <a:spcPct val="110000"/>
                </a:lnSpc>
                <a:spcBef>
                  <a:spcPct val="0"/>
                </a:spcBef>
                <a:spcAft>
                  <a:spcPct val="0"/>
                </a:spcAft>
                <a:buClr>
                  <a:srgbClr val="009999"/>
                </a:buClr>
              </a:pPr>
              <a:endParaRPr lang="en-US" sz="1400" b="1" kern="0" dirty="0">
                <a:solidFill>
                  <a:schemeClr val="accent2"/>
                </a:solidFill>
                <a:latin typeface="Arial" pitchFamily="34" charset="0"/>
                <a:cs typeface="Arial" pitchFamily="34" charset="0"/>
              </a:endParaRPr>
            </a:p>
          </p:txBody>
        </p:sp>
        <p:sp>
          <p:nvSpPr>
            <p:cNvPr id="70" name="Freihandform: Form 69">
              <a:extLst>
                <a:ext uri="{FF2B5EF4-FFF2-40B4-BE49-F238E27FC236}">
                  <a16:creationId xmlns:a16="http://schemas.microsoft.com/office/drawing/2014/main" id="{4927537A-C5B6-6990-C3A0-1BC56806367D}"/>
                </a:ext>
              </a:extLst>
            </p:cNvPr>
            <p:cNvSpPr/>
            <p:nvPr/>
          </p:nvSpPr>
          <p:spPr bwMode="gray">
            <a:xfrm>
              <a:off x="5155033" y="2418411"/>
              <a:ext cx="1883471" cy="2067280"/>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Lst>
              <a:ahLst/>
              <a:cxnLst>
                <a:cxn ang="0">
                  <a:pos x="connsiteX0" y="connsiteY0"/>
                </a:cxn>
                <a:cxn ang="0">
                  <a:pos x="connsiteX1" y="connsiteY1"/>
                </a:cxn>
                <a:cxn ang="0">
                  <a:pos x="connsiteX2" y="connsiteY2"/>
                </a:cxn>
                <a:cxn ang="0">
                  <a:pos x="connsiteX3" y="connsiteY3"/>
                </a:cxn>
              </a:cxnLst>
              <a:rect l="l" t="t" r="r" b="b"/>
              <a:pathLst>
                <a:path w="2352675" h="2724150">
                  <a:moveTo>
                    <a:pt x="2361533" y="2045113"/>
                  </a:moveTo>
                  <a:lnTo>
                    <a:pt x="1180719" y="2726912"/>
                  </a:lnTo>
                  <a:lnTo>
                    <a:pt x="0" y="2045208"/>
                  </a:lnTo>
                  <a:lnTo>
                    <a:pt x="1180814" y="0"/>
                  </a:lnTo>
                  <a:close/>
                </a:path>
              </a:pathLst>
            </a:custGeom>
            <a:gradFill flip="none" rotWithShape="1">
              <a:gsLst>
                <a:gs pos="4000">
                  <a:srgbClr val="00646E"/>
                </a:gs>
                <a:gs pos="100000">
                  <a:schemeClr val="accent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180000" rtlCol="0" anchor="b" anchorCtr="0"/>
            <a:lstStyle/>
            <a:p>
              <a:pPr algn="ctr" fontAlgn="base">
                <a:lnSpc>
                  <a:spcPct val="110000"/>
                </a:lnSpc>
                <a:spcBef>
                  <a:spcPct val="0"/>
                </a:spcBef>
                <a:spcAft>
                  <a:spcPct val="0"/>
                </a:spcAft>
                <a:buClr>
                  <a:srgbClr val="009999"/>
                </a:buClr>
              </a:pPr>
              <a:r>
                <a:rPr lang="en-US" sz="1400" b="1" kern="0">
                  <a:solidFill>
                    <a:schemeClr val="accent2"/>
                  </a:solidFill>
                  <a:latin typeface="Arial" pitchFamily="34" charset="0"/>
                  <a:cs typeface="Arial" pitchFamily="34" charset="0"/>
                </a:rPr>
                <a:t>Data</a:t>
              </a:r>
              <a:br>
                <a:rPr lang="en-US" sz="1400" b="1" kern="0">
                  <a:solidFill>
                    <a:schemeClr val="accent2"/>
                  </a:solidFill>
                  <a:latin typeface="Arial" pitchFamily="34" charset="0"/>
                  <a:cs typeface="Arial" pitchFamily="34" charset="0"/>
                </a:rPr>
              </a:br>
              <a:r>
                <a:rPr lang="en-US" sz="1400" b="1" kern="0">
                  <a:solidFill>
                    <a:schemeClr val="accent2"/>
                  </a:solidFill>
                  <a:latin typeface="Arial" pitchFamily="34" charset="0"/>
                  <a:cs typeface="Arial" pitchFamily="34" charset="0"/>
                </a:rPr>
                <a:t>Rate</a:t>
              </a:r>
            </a:p>
            <a:p>
              <a:pPr algn="ctr" fontAlgn="base">
                <a:lnSpc>
                  <a:spcPct val="110000"/>
                </a:lnSpc>
                <a:spcBef>
                  <a:spcPct val="0"/>
                </a:spcBef>
                <a:spcAft>
                  <a:spcPct val="0"/>
                </a:spcAft>
                <a:buClr>
                  <a:srgbClr val="009999"/>
                </a:buClr>
              </a:pPr>
              <a:endParaRPr lang="en-US" sz="1400" b="1" kern="0">
                <a:solidFill>
                  <a:schemeClr val="accent2"/>
                </a:solidFill>
                <a:latin typeface="Arial" pitchFamily="34" charset="0"/>
                <a:cs typeface="Arial" pitchFamily="34" charset="0"/>
              </a:endParaRPr>
            </a:p>
            <a:p>
              <a:pPr algn="ctr" fontAlgn="base">
                <a:lnSpc>
                  <a:spcPct val="110000"/>
                </a:lnSpc>
                <a:spcBef>
                  <a:spcPct val="0"/>
                </a:spcBef>
                <a:spcAft>
                  <a:spcPct val="0"/>
                </a:spcAft>
                <a:buClr>
                  <a:srgbClr val="009999"/>
                </a:buClr>
              </a:pPr>
              <a:endParaRPr lang="en-US" sz="1400" b="1" kern="0" dirty="0">
                <a:solidFill>
                  <a:schemeClr val="accent2"/>
                </a:solidFill>
                <a:latin typeface="Arial" pitchFamily="34" charset="0"/>
                <a:cs typeface="Arial" pitchFamily="34" charset="0"/>
              </a:endParaRPr>
            </a:p>
          </p:txBody>
        </p:sp>
        <p:sp>
          <p:nvSpPr>
            <p:cNvPr id="71" name="Freihandform: Form 70">
              <a:extLst>
                <a:ext uri="{FF2B5EF4-FFF2-40B4-BE49-F238E27FC236}">
                  <a16:creationId xmlns:a16="http://schemas.microsoft.com/office/drawing/2014/main" id="{131D231B-9EEB-EBED-558F-3D4C708A98A7}"/>
                </a:ext>
              </a:extLst>
            </p:cNvPr>
            <p:cNvSpPr/>
            <p:nvPr/>
          </p:nvSpPr>
          <p:spPr bwMode="gray">
            <a:xfrm>
              <a:off x="6160060" y="4068476"/>
              <a:ext cx="1894526" cy="1546845"/>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4" y="2045208"/>
                  </a:moveTo>
                  <a:lnTo>
                    <a:pt x="0" y="2045208"/>
                  </a:lnTo>
                  <a:lnTo>
                    <a:pt x="0" y="681704"/>
                  </a:lnTo>
                  <a:lnTo>
                    <a:pt x="1180814" y="0"/>
                  </a:lnTo>
                  <a:close/>
                </a:path>
              </a:pathLst>
            </a:custGeom>
            <a:gradFill flip="none" rotWithShape="1">
              <a:gsLst>
                <a:gs pos="4000">
                  <a:srgbClr val="00646E"/>
                </a:gs>
                <a:gs pos="100000">
                  <a:schemeClr val="accent6"/>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180000" rtlCol="0" anchor="b" anchorCtr="0"/>
            <a:lstStyle/>
            <a:p>
              <a:pPr fontAlgn="base">
                <a:lnSpc>
                  <a:spcPct val="110000"/>
                </a:lnSpc>
                <a:spcBef>
                  <a:spcPct val="0"/>
                </a:spcBef>
                <a:spcAft>
                  <a:spcPct val="0"/>
                </a:spcAft>
                <a:buClr>
                  <a:srgbClr val="009999"/>
                </a:buClr>
              </a:pPr>
              <a:r>
                <a:rPr lang="en-US" sz="1400" b="1" kern="0">
                  <a:solidFill>
                    <a:schemeClr val="accent2"/>
                  </a:solidFill>
                  <a:latin typeface="Arial" pitchFamily="34" charset="0"/>
                  <a:cs typeface="Arial" pitchFamily="34" charset="0"/>
                </a:rPr>
                <a:t>Latency/</a:t>
              </a:r>
              <a:br>
                <a:rPr lang="en-US" sz="1400" b="1" kern="0">
                  <a:solidFill>
                    <a:schemeClr val="accent2"/>
                  </a:solidFill>
                  <a:latin typeface="Arial" pitchFamily="34" charset="0"/>
                  <a:cs typeface="Arial" pitchFamily="34" charset="0"/>
                </a:rPr>
              </a:br>
              <a:r>
                <a:rPr lang="en-US" sz="1400" b="1" kern="0">
                  <a:solidFill>
                    <a:schemeClr val="accent2"/>
                  </a:solidFill>
                  <a:latin typeface="Arial" pitchFamily="34" charset="0"/>
                  <a:cs typeface="Arial" pitchFamily="34" charset="0"/>
                </a:rPr>
                <a:t>Reliability</a:t>
              </a:r>
            </a:p>
            <a:p>
              <a:pPr fontAlgn="base">
                <a:lnSpc>
                  <a:spcPct val="110000"/>
                </a:lnSpc>
                <a:spcBef>
                  <a:spcPct val="0"/>
                </a:spcBef>
                <a:spcAft>
                  <a:spcPct val="0"/>
                </a:spcAft>
                <a:buClr>
                  <a:srgbClr val="009999"/>
                </a:buClr>
              </a:pPr>
              <a:endParaRPr lang="en-US" sz="1400" b="1" kern="0" dirty="0">
                <a:solidFill>
                  <a:schemeClr val="accent2"/>
                </a:solidFill>
                <a:latin typeface="Arial" pitchFamily="34" charset="0"/>
                <a:cs typeface="Arial" pitchFamily="34" charset="0"/>
              </a:endParaRPr>
            </a:p>
          </p:txBody>
        </p:sp>
        <p:sp>
          <p:nvSpPr>
            <p:cNvPr id="72" name="TextBox 5">
              <a:extLst>
                <a:ext uri="{FF2B5EF4-FFF2-40B4-BE49-F238E27FC236}">
                  <a16:creationId xmlns:a16="http://schemas.microsoft.com/office/drawing/2014/main" id="{AFB128F1-FF60-497C-A928-77B1DF225111}"/>
                </a:ext>
              </a:extLst>
            </p:cNvPr>
            <p:cNvSpPr txBox="1">
              <a:spLocks noChangeArrowheads="1"/>
            </p:cNvSpPr>
            <p:nvPr>
              <p:custDataLst>
                <p:tags r:id="rId1"/>
              </p:custDataLst>
            </p:nvPr>
          </p:nvSpPr>
          <p:spPr bwMode="gray">
            <a:xfrm>
              <a:off x="5708715" y="4160180"/>
              <a:ext cx="773868" cy="6245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4000" b="1" i="0" u="none" strike="noStrike" kern="0" cap="none" spc="0" normalizeH="0" baseline="0" noProof="0">
                  <a:ln>
                    <a:noFill/>
                  </a:ln>
                  <a:solidFill>
                    <a:schemeClr val="accent2"/>
                  </a:solidFill>
                  <a:effectLst/>
                  <a:uLnTx/>
                  <a:uFillTx/>
                  <a:latin typeface="Arial" pitchFamily="34" charset="0"/>
                  <a:ea typeface="+mn-ea"/>
                  <a:cs typeface="Arial" pitchFamily="34" charset="0"/>
                </a:rPr>
                <a:t>5G</a:t>
              </a:r>
              <a:endParaRPr kumimoji="0" lang="en-US" sz="4000" b="1" i="0" u="none" strike="noStrike" kern="0" cap="none" spc="0" normalizeH="0" baseline="0" noProof="0" dirty="0">
                <a:ln>
                  <a:noFill/>
                </a:ln>
                <a:solidFill>
                  <a:schemeClr val="accent2"/>
                </a:solidFill>
                <a:effectLst/>
                <a:uLnTx/>
                <a:uFillTx/>
                <a:latin typeface="Arial" pitchFamily="34" charset="0"/>
                <a:ea typeface="+mn-ea"/>
                <a:cs typeface="Arial" pitchFamily="34" charset="0"/>
              </a:endParaRPr>
            </a:p>
          </p:txBody>
        </p:sp>
        <p:sp>
          <p:nvSpPr>
            <p:cNvPr id="73" name="Freihandform: Form 72">
              <a:extLst>
                <a:ext uri="{FF2B5EF4-FFF2-40B4-BE49-F238E27FC236}">
                  <a16:creationId xmlns:a16="http://schemas.microsoft.com/office/drawing/2014/main" id="{21B7D41B-0A38-5E4E-34CF-860D2A43509E}"/>
                </a:ext>
              </a:extLst>
            </p:cNvPr>
            <p:cNvSpPr/>
            <p:nvPr/>
          </p:nvSpPr>
          <p:spPr bwMode="gray">
            <a:xfrm>
              <a:off x="3810002" y="3984039"/>
              <a:ext cx="2220754" cy="1823034"/>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 name="connsiteX0" fmla="*/ 2361533 w 2468452"/>
                <a:gd name="connsiteY0" fmla="*/ 681704 h 2045113"/>
                <a:gd name="connsiteX1" fmla="*/ 2361533 w 2468452"/>
                <a:gd name="connsiteY1" fmla="*/ 2045113 h 2045113"/>
                <a:gd name="connsiteX2" fmla="*/ 0 w 2468452"/>
                <a:gd name="connsiteY2" fmla="*/ 2045113 h 2045113"/>
                <a:gd name="connsiteX3" fmla="*/ 1180814 w 2468452"/>
                <a:gd name="connsiteY3" fmla="*/ 0 h 2045113"/>
                <a:gd name="connsiteX4" fmla="*/ 2468452 w 2468452"/>
                <a:gd name="connsiteY4" fmla="*/ 788623 h 2045113"/>
                <a:gd name="connsiteX0" fmla="*/ 2361533 w 2361533"/>
                <a:gd name="connsiteY0" fmla="*/ 681704 h 2045113"/>
                <a:gd name="connsiteX1" fmla="*/ 2361533 w 2361533"/>
                <a:gd name="connsiteY1" fmla="*/ 2045113 h 2045113"/>
                <a:gd name="connsiteX2" fmla="*/ 0 w 2361533"/>
                <a:gd name="connsiteY2" fmla="*/ 2045113 h 2045113"/>
                <a:gd name="connsiteX3" fmla="*/ 1180814 w 2361533"/>
                <a:gd name="connsiteY3" fmla="*/ 0 h 2045113"/>
                <a:gd name="connsiteX0" fmla="*/ 2361533 w 2361533"/>
                <a:gd name="connsiteY0" fmla="*/ 2045113 h 2045113"/>
                <a:gd name="connsiteX1" fmla="*/ 0 w 2361533"/>
                <a:gd name="connsiteY1" fmla="*/ 2045113 h 2045113"/>
                <a:gd name="connsiteX2" fmla="*/ 1180814 w 2361533"/>
                <a:gd name="connsiteY2" fmla="*/ 0 h 2045113"/>
              </a:gdLst>
              <a:ahLst/>
              <a:cxnLst>
                <a:cxn ang="0">
                  <a:pos x="connsiteX0" y="connsiteY0"/>
                </a:cxn>
                <a:cxn ang="0">
                  <a:pos x="connsiteX1" y="connsiteY1"/>
                </a:cxn>
                <a:cxn ang="0">
                  <a:pos x="connsiteX2" y="connsiteY2"/>
                </a:cxn>
              </a:cxnLst>
              <a:rect l="l" t="t" r="r" b="b"/>
              <a:pathLst>
                <a:path w="2361533" h="2045113">
                  <a:moveTo>
                    <a:pt x="2361533" y="2045113"/>
                  </a:moveTo>
                  <a:lnTo>
                    <a:pt x="0" y="2045113"/>
                  </a:lnTo>
                  <a:lnTo>
                    <a:pt x="1180814" y="0"/>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74" name="Freihandform: Form 73">
              <a:extLst>
                <a:ext uri="{FF2B5EF4-FFF2-40B4-BE49-F238E27FC236}">
                  <a16:creationId xmlns:a16="http://schemas.microsoft.com/office/drawing/2014/main" id="{07D5114B-212D-7DA7-CF46-17180CE5C2C1}"/>
                </a:ext>
              </a:extLst>
            </p:cNvPr>
            <p:cNvSpPr/>
            <p:nvPr/>
          </p:nvSpPr>
          <p:spPr bwMode="gray">
            <a:xfrm>
              <a:off x="4990558" y="2045703"/>
              <a:ext cx="2220754" cy="1823118"/>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 name="connsiteX0" fmla="*/ 1180719 w 2361533"/>
                <a:gd name="connsiteY0" fmla="*/ 2726912 h 2833831"/>
                <a:gd name="connsiteX1" fmla="*/ 0 w 2361533"/>
                <a:gd name="connsiteY1" fmla="*/ 2045208 h 2833831"/>
                <a:gd name="connsiteX2" fmla="*/ 1180814 w 2361533"/>
                <a:gd name="connsiteY2" fmla="*/ 0 h 2833831"/>
                <a:gd name="connsiteX3" fmla="*/ 2361533 w 2361533"/>
                <a:gd name="connsiteY3" fmla="*/ 2045113 h 2833831"/>
                <a:gd name="connsiteX4" fmla="*/ 1287638 w 2361533"/>
                <a:gd name="connsiteY4" fmla="*/ 2833831 h 2833831"/>
                <a:gd name="connsiteX0" fmla="*/ 0 w 2361533"/>
                <a:gd name="connsiteY0" fmla="*/ 2045208 h 2833831"/>
                <a:gd name="connsiteX1" fmla="*/ 1180814 w 2361533"/>
                <a:gd name="connsiteY1" fmla="*/ 0 h 2833831"/>
                <a:gd name="connsiteX2" fmla="*/ 2361533 w 2361533"/>
                <a:gd name="connsiteY2" fmla="*/ 2045113 h 2833831"/>
                <a:gd name="connsiteX3" fmla="*/ 1287638 w 2361533"/>
                <a:gd name="connsiteY3" fmla="*/ 2833831 h 2833831"/>
                <a:gd name="connsiteX0" fmla="*/ 0 w 2361533"/>
                <a:gd name="connsiteY0" fmla="*/ 2045208 h 2045208"/>
                <a:gd name="connsiteX1" fmla="*/ 1180814 w 2361533"/>
                <a:gd name="connsiteY1" fmla="*/ 0 h 2045208"/>
                <a:gd name="connsiteX2" fmla="*/ 2361533 w 2361533"/>
                <a:gd name="connsiteY2" fmla="*/ 2045113 h 2045208"/>
              </a:gdLst>
              <a:ahLst/>
              <a:cxnLst>
                <a:cxn ang="0">
                  <a:pos x="connsiteX0" y="connsiteY0"/>
                </a:cxn>
                <a:cxn ang="0">
                  <a:pos x="connsiteX1" y="connsiteY1"/>
                </a:cxn>
                <a:cxn ang="0">
                  <a:pos x="connsiteX2" y="connsiteY2"/>
                </a:cxn>
              </a:cxnLst>
              <a:rect l="l" t="t" r="r" b="b"/>
              <a:pathLst>
                <a:path w="2361533" h="2045208">
                  <a:moveTo>
                    <a:pt x="0" y="2045208"/>
                  </a:moveTo>
                  <a:lnTo>
                    <a:pt x="1180814" y="0"/>
                  </a:lnTo>
                  <a:lnTo>
                    <a:pt x="2361533" y="2045113"/>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75" name="Freihandform: Form 74">
              <a:extLst>
                <a:ext uri="{FF2B5EF4-FFF2-40B4-BE49-F238E27FC236}">
                  <a16:creationId xmlns:a16="http://schemas.microsoft.com/office/drawing/2014/main" id="{24F142C9-AD08-C759-E338-BA0FF3E116E1}"/>
                </a:ext>
              </a:extLst>
            </p:cNvPr>
            <p:cNvSpPr/>
            <p:nvPr/>
          </p:nvSpPr>
          <p:spPr bwMode="gray">
            <a:xfrm>
              <a:off x="6171115" y="3983955"/>
              <a:ext cx="2220755" cy="1823119"/>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 name="connsiteX0" fmla="*/ 0 w 2361533"/>
                <a:gd name="connsiteY0" fmla="*/ 681704 h 2045208"/>
                <a:gd name="connsiteX1" fmla="*/ 1180814 w 2361533"/>
                <a:gd name="connsiteY1" fmla="*/ 0 h 2045208"/>
                <a:gd name="connsiteX2" fmla="*/ 2361534 w 2361533"/>
                <a:gd name="connsiteY2" fmla="*/ 2045208 h 2045208"/>
                <a:gd name="connsiteX3" fmla="*/ 0 w 2361533"/>
                <a:gd name="connsiteY3" fmla="*/ 2045208 h 2045208"/>
                <a:gd name="connsiteX4" fmla="*/ 106919 w 2361533"/>
                <a:gd name="connsiteY4" fmla="*/ 788623 h 2045208"/>
                <a:gd name="connsiteX0" fmla="*/ 0 w 2361534"/>
                <a:gd name="connsiteY0" fmla="*/ 681704 h 2045208"/>
                <a:gd name="connsiteX1" fmla="*/ 1180814 w 2361534"/>
                <a:gd name="connsiteY1" fmla="*/ 0 h 2045208"/>
                <a:gd name="connsiteX2" fmla="*/ 2361534 w 2361534"/>
                <a:gd name="connsiteY2" fmla="*/ 2045208 h 2045208"/>
                <a:gd name="connsiteX3" fmla="*/ 0 w 2361534"/>
                <a:gd name="connsiteY3" fmla="*/ 2045208 h 2045208"/>
                <a:gd name="connsiteX0" fmla="*/ 1180814 w 2361534"/>
                <a:gd name="connsiteY0" fmla="*/ 0 h 2045208"/>
                <a:gd name="connsiteX1" fmla="*/ 2361534 w 2361534"/>
                <a:gd name="connsiteY1" fmla="*/ 2045208 h 2045208"/>
                <a:gd name="connsiteX2" fmla="*/ 0 w 2361534"/>
                <a:gd name="connsiteY2" fmla="*/ 2045208 h 2045208"/>
              </a:gdLst>
              <a:ahLst/>
              <a:cxnLst>
                <a:cxn ang="0">
                  <a:pos x="connsiteX0" y="connsiteY0"/>
                </a:cxn>
                <a:cxn ang="0">
                  <a:pos x="connsiteX1" y="connsiteY1"/>
                </a:cxn>
                <a:cxn ang="0">
                  <a:pos x="connsiteX2" y="connsiteY2"/>
                </a:cxn>
              </a:cxnLst>
              <a:rect l="l" t="t" r="r" b="b"/>
              <a:pathLst>
                <a:path w="2361534" h="2045208">
                  <a:moveTo>
                    <a:pt x="1180814" y="0"/>
                  </a:moveTo>
                  <a:lnTo>
                    <a:pt x="2361534" y="2045208"/>
                  </a:lnTo>
                  <a:lnTo>
                    <a:pt x="0" y="2045208"/>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grpSp>
      <p:sp>
        <p:nvSpPr>
          <p:cNvPr id="24" name="Ellipse 23">
            <a:extLst>
              <a:ext uri="{FF2B5EF4-FFF2-40B4-BE49-F238E27FC236}">
                <a16:creationId xmlns:a16="http://schemas.microsoft.com/office/drawing/2014/main" id="{ABA9DC93-4FEF-4E61-A879-23AE7A814A14}"/>
              </a:ext>
            </a:extLst>
          </p:cNvPr>
          <p:cNvSpPr/>
          <p:nvPr/>
        </p:nvSpPr>
        <p:spPr bwMode="auto">
          <a:xfrm>
            <a:off x="4105368" y="5608827"/>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5" name="Ellipse 24">
            <a:extLst>
              <a:ext uri="{FF2B5EF4-FFF2-40B4-BE49-F238E27FC236}">
                <a16:creationId xmlns:a16="http://schemas.microsoft.com/office/drawing/2014/main" id="{A23A9DCF-5C1D-48EB-AA73-DFBB1136ED22}"/>
              </a:ext>
            </a:extLst>
          </p:cNvPr>
          <p:cNvSpPr/>
          <p:nvPr/>
        </p:nvSpPr>
        <p:spPr bwMode="auto">
          <a:xfrm>
            <a:off x="5803701" y="5380257"/>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6" name="Ellipse 25">
            <a:extLst>
              <a:ext uri="{FF2B5EF4-FFF2-40B4-BE49-F238E27FC236}">
                <a16:creationId xmlns:a16="http://schemas.microsoft.com/office/drawing/2014/main" id="{B201423E-179A-4BD1-94CA-DD7CAADB1166}"/>
              </a:ext>
            </a:extLst>
          </p:cNvPr>
          <p:cNvSpPr/>
          <p:nvPr/>
        </p:nvSpPr>
        <p:spPr bwMode="auto">
          <a:xfrm>
            <a:off x="6274182" y="5249014"/>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7" name="Ellipse 26">
            <a:extLst>
              <a:ext uri="{FF2B5EF4-FFF2-40B4-BE49-F238E27FC236}">
                <a16:creationId xmlns:a16="http://schemas.microsoft.com/office/drawing/2014/main" id="{47892E04-4B2A-43A3-B071-FE5EAE33D993}"/>
              </a:ext>
            </a:extLst>
          </p:cNvPr>
          <p:cNvSpPr/>
          <p:nvPr/>
        </p:nvSpPr>
        <p:spPr bwMode="auto">
          <a:xfrm>
            <a:off x="6083028" y="2266500"/>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28" name="Ellipse 27">
            <a:extLst>
              <a:ext uri="{FF2B5EF4-FFF2-40B4-BE49-F238E27FC236}">
                <a16:creationId xmlns:a16="http://schemas.microsoft.com/office/drawing/2014/main" id="{5AEE3BD0-151D-42BD-B89D-0C3BD58735F7}"/>
              </a:ext>
            </a:extLst>
          </p:cNvPr>
          <p:cNvSpPr/>
          <p:nvPr/>
        </p:nvSpPr>
        <p:spPr bwMode="auto">
          <a:xfrm>
            <a:off x="6243561" y="3658261"/>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29" name="Ellipse 28">
            <a:extLst>
              <a:ext uri="{FF2B5EF4-FFF2-40B4-BE49-F238E27FC236}">
                <a16:creationId xmlns:a16="http://schemas.microsoft.com/office/drawing/2014/main" id="{B96CACC8-C4E4-4448-BB92-8DBD6C1324C4}"/>
              </a:ext>
            </a:extLst>
          </p:cNvPr>
          <p:cNvSpPr/>
          <p:nvPr/>
        </p:nvSpPr>
        <p:spPr bwMode="auto">
          <a:xfrm>
            <a:off x="7617647" y="5096090"/>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30" name="Ellipse 29">
            <a:extLst>
              <a:ext uri="{FF2B5EF4-FFF2-40B4-BE49-F238E27FC236}">
                <a16:creationId xmlns:a16="http://schemas.microsoft.com/office/drawing/2014/main" id="{16F1C1E2-0FED-4D47-B0F3-710DECE0F211}"/>
              </a:ext>
            </a:extLst>
          </p:cNvPr>
          <p:cNvSpPr/>
          <p:nvPr/>
        </p:nvSpPr>
        <p:spPr bwMode="auto">
          <a:xfrm>
            <a:off x="7038748" y="4512607"/>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31" name="Ellipse 30">
            <a:extLst>
              <a:ext uri="{FF2B5EF4-FFF2-40B4-BE49-F238E27FC236}">
                <a16:creationId xmlns:a16="http://schemas.microsoft.com/office/drawing/2014/main" id="{B37350D5-D7FA-4C65-8410-5F1F0FD703D4}"/>
              </a:ext>
            </a:extLst>
          </p:cNvPr>
          <p:cNvSpPr/>
          <p:nvPr/>
        </p:nvSpPr>
        <p:spPr bwMode="auto">
          <a:xfrm>
            <a:off x="6075622" y="2766733"/>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32" name="Ellipse 31">
            <a:extLst>
              <a:ext uri="{FF2B5EF4-FFF2-40B4-BE49-F238E27FC236}">
                <a16:creationId xmlns:a16="http://schemas.microsoft.com/office/drawing/2014/main" id="{D06E52F7-4C4A-4434-A86E-D61685BF3290}"/>
              </a:ext>
            </a:extLst>
          </p:cNvPr>
          <p:cNvSpPr/>
          <p:nvPr/>
        </p:nvSpPr>
        <p:spPr bwMode="auto">
          <a:xfrm>
            <a:off x="7939053" y="5428921"/>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sp>
        <p:nvSpPr>
          <p:cNvPr id="33" name="Ellipse 32">
            <a:extLst>
              <a:ext uri="{FF2B5EF4-FFF2-40B4-BE49-F238E27FC236}">
                <a16:creationId xmlns:a16="http://schemas.microsoft.com/office/drawing/2014/main" id="{C8A6309B-2DC1-4B4C-A802-ED8C4E5C6070}"/>
              </a:ext>
            </a:extLst>
          </p:cNvPr>
          <p:cNvSpPr/>
          <p:nvPr/>
        </p:nvSpPr>
        <p:spPr bwMode="auto">
          <a:xfrm>
            <a:off x="7329308" y="4799659"/>
            <a:ext cx="179906" cy="179906"/>
          </a:xfrm>
          <a:prstGeom prst="ellipse">
            <a:avLst/>
          </a:prstGeom>
          <a:solidFill>
            <a:schemeClr val="dk2"/>
          </a:solidFill>
          <a:ln w="9525">
            <a:noFill/>
            <a:miter lim="800000"/>
            <a:headEnd/>
            <a:tailEnd/>
          </a:ln>
          <a:effectLst/>
        </p:spPr>
        <p:txBody>
          <a:bodyPr wrap="square" lIns="107944" tIns="53972" rIns="107944" bIns="53972" numCol="1" spcCol="72000" rtlCol="0" anchor="ctr">
            <a:noAutofit/>
          </a:bodyPr>
          <a:lstStyle/>
          <a:p>
            <a:pPr algn="ctr" fontAlgn="base">
              <a:lnSpc>
                <a:spcPct val="110000"/>
              </a:lnSpc>
              <a:spcBef>
                <a:spcPct val="0"/>
              </a:spcBef>
              <a:spcAft>
                <a:spcPct val="0"/>
              </a:spcAft>
            </a:pPr>
            <a:endParaRPr lang="en-US" sz="1799" dirty="0">
              <a:solidFill>
                <a:srgbClr val="3A8686"/>
              </a:solidFill>
              <a:latin typeface="Arial"/>
              <a:ea typeface="Arial Unicode MS" panose="020B0604020202020204" pitchFamily="34" charset="-128"/>
              <a:cs typeface="Arial Unicode MS" panose="020B0604020202020204" pitchFamily="34" charset="-128"/>
            </a:endParaRPr>
          </a:p>
        </p:txBody>
      </p:sp>
      <p:cxnSp>
        <p:nvCxnSpPr>
          <p:cNvPr id="34" name="Gerader Verbinder 33">
            <a:extLst>
              <a:ext uri="{FF2B5EF4-FFF2-40B4-BE49-F238E27FC236}">
                <a16:creationId xmlns:a16="http://schemas.microsoft.com/office/drawing/2014/main" id="{9F041C07-C8A3-4771-B1F5-CC876F9A7050}"/>
              </a:ext>
            </a:extLst>
          </p:cNvPr>
          <p:cNvCxnSpPr>
            <a:cxnSpLocks/>
            <a:stCxn id="14" idx="3"/>
            <a:endCxn id="26" idx="1"/>
          </p:cNvCxnSpPr>
          <p:nvPr/>
        </p:nvCxnSpPr>
        <p:spPr bwMode="auto">
          <a:xfrm>
            <a:off x="3255164" y="4403058"/>
            <a:ext cx="3045365" cy="872303"/>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r Verbinder 34">
            <a:extLst>
              <a:ext uri="{FF2B5EF4-FFF2-40B4-BE49-F238E27FC236}">
                <a16:creationId xmlns:a16="http://schemas.microsoft.com/office/drawing/2014/main" id="{46D95F06-564D-49E4-9054-F6C08AE93787}"/>
              </a:ext>
            </a:extLst>
          </p:cNvPr>
          <p:cNvCxnSpPr>
            <a:cxnSpLocks/>
            <a:stCxn id="15" idx="3"/>
            <a:endCxn id="25" idx="2"/>
          </p:cNvCxnSpPr>
          <p:nvPr/>
        </p:nvCxnSpPr>
        <p:spPr bwMode="auto">
          <a:xfrm>
            <a:off x="3255164" y="4964733"/>
            <a:ext cx="2548537" cy="505477"/>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r Verbinder 35">
            <a:extLst>
              <a:ext uri="{FF2B5EF4-FFF2-40B4-BE49-F238E27FC236}">
                <a16:creationId xmlns:a16="http://schemas.microsoft.com/office/drawing/2014/main" id="{8159D37D-E1E3-44DD-80D6-362F96A87E78}"/>
              </a:ext>
            </a:extLst>
          </p:cNvPr>
          <p:cNvCxnSpPr>
            <a:cxnSpLocks/>
            <a:stCxn id="16" idx="3"/>
            <a:endCxn id="24" idx="2"/>
          </p:cNvCxnSpPr>
          <p:nvPr/>
        </p:nvCxnSpPr>
        <p:spPr bwMode="auto">
          <a:xfrm>
            <a:off x="3255164" y="5526408"/>
            <a:ext cx="850204" cy="172372"/>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14FAFE9A-6A0A-46F4-ADE6-0FC450758662}"/>
              </a:ext>
            </a:extLst>
          </p:cNvPr>
          <p:cNvCxnSpPr>
            <a:cxnSpLocks/>
            <a:stCxn id="17" idx="1"/>
            <a:endCxn id="27" idx="6"/>
          </p:cNvCxnSpPr>
          <p:nvPr/>
        </p:nvCxnSpPr>
        <p:spPr bwMode="auto">
          <a:xfrm flipH="1">
            <a:off x="6262934" y="2048358"/>
            <a:ext cx="2681410" cy="308095"/>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r Verbinder 37">
            <a:extLst>
              <a:ext uri="{FF2B5EF4-FFF2-40B4-BE49-F238E27FC236}">
                <a16:creationId xmlns:a16="http://schemas.microsoft.com/office/drawing/2014/main" id="{8DC7A051-58F5-499F-947F-8312F310F6AF}"/>
              </a:ext>
            </a:extLst>
          </p:cNvPr>
          <p:cNvCxnSpPr>
            <a:cxnSpLocks/>
            <a:stCxn id="19" idx="1"/>
            <a:endCxn id="28" idx="6"/>
          </p:cNvCxnSpPr>
          <p:nvPr/>
        </p:nvCxnSpPr>
        <p:spPr bwMode="auto">
          <a:xfrm flipH="1">
            <a:off x="6423467" y="3279708"/>
            <a:ext cx="2520877" cy="468506"/>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r Verbinder 38">
            <a:extLst>
              <a:ext uri="{FF2B5EF4-FFF2-40B4-BE49-F238E27FC236}">
                <a16:creationId xmlns:a16="http://schemas.microsoft.com/office/drawing/2014/main" id="{B645CF79-8F7D-4F23-90CF-8BCB7742FCC3}"/>
              </a:ext>
            </a:extLst>
          </p:cNvPr>
          <p:cNvCxnSpPr>
            <a:cxnSpLocks/>
            <a:stCxn id="20" idx="1"/>
            <a:endCxn id="30" idx="6"/>
          </p:cNvCxnSpPr>
          <p:nvPr/>
        </p:nvCxnSpPr>
        <p:spPr bwMode="auto">
          <a:xfrm flipH="1">
            <a:off x="7218654" y="3949383"/>
            <a:ext cx="1725690" cy="653177"/>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r Verbinder 39">
            <a:extLst>
              <a:ext uri="{FF2B5EF4-FFF2-40B4-BE49-F238E27FC236}">
                <a16:creationId xmlns:a16="http://schemas.microsoft.com/office/drawing/2014/main" id="{8CCF925A-A65C-4DA8-8E85-A5CEE1B8B1D7}"/>
              </a:ext>
            </a:extLst>
          </p:cNvPr>
          <p:cNvCxnSpPr>
            <a:cxnSpLocks/>
            <a:stCxn id="21" idx="1"/>
            <a:endCxn id="33" idx="6"/>
          </p:cNvCxnSpPr>
          <p:nvPr/>
        </p:nvCxnSpPr>
        <p:spPr bwMode="auto">
          <a:xfrm flipH="1">
            <a:off x="7509214" y="4511058"/>
            <a:ext cx="1435130" cy="378554"/>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r Verbinder 40">
            <a:extLst>
              <a:ext uri="{FF2B5EF4-FFF2-40B4-BE49-F238E27FC236}">
                <a16:creationId xmlns:a16="http://schemas.microsoft.com/office/drawing/2014/main" id="{5CBF0464-E89C-49EF-B424-2CFCC17BC8F5}"/>
              </a:ext>
            </a:extLst>
          </p:cNvPr>
          <p:cNvCxnSpPr>
            <a:cxnSpLocks/>
            <a:stCxn id="22" idx="1"/>
            <a:endCxn id="29" idx="6"/>
          </p:cNvCxnSpPr>
          <p:nvPr/>
        </p:nvCxnSpPr>
        <p:spPr bwMode="auto">
          <a:xfrm flipH="1">
            <a:off x="7797553" y="4964733"/>
            <a:ext cx="1146791" cy="221310"/>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7FE8B009-084F-4DC3-8301-2C85691C4918}"/>
              </a:ext>
            </a:extLst>
          </p:cNvPr>
          <p:cNvCxnSpPr>
            <a:cxnSpLocks/>
            <a:stCxn id="23" idx="1"/>
            <a:endCxn id="32" idx="6"/>
          </p:cNvCxnSpPr>
          <p:nvPr/>
        </p:nvCxnSpPr>
        <p:spPr bwMode="auto">
          <a:xfrm flipH="1" flipV="1">
            <a:off x="8118959" y="5518874"/>
            <a:ext cx="825383" cy="7534"/>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r Verbinder 42">
            <a:extLst>
              <a:ext uri="{FF2B5EF4-FFF2-40B4-BE49-F238E27FC236}">
                <a16:creationId xmlns:a16="http://schemas.microsoft.com/office/drawing/2014/main" id="{9FEA5BDC-5B85-4E66-81D3-EB608FAD47EE}"/>
              </a:ext>
            </a:extLst>
          </p:cNvPr>
          <p:cNvCxnSpPr>
            <a:cxnSpLocks/>
            <a:stCxn id="18" idx="1"/>
            <a:endCxn id="31" idx="6"/>
          </p:cNvCxnSpPr>
          <p:nvPr/>
        </p:nvCxnSpPr>
        <p:spPr bwMode="auto">
          <a:xfrm flipH="1">
            <a:off x="6255528" y="2610033"/>
            <a:ext cx="2688816" cy="246653"/>
          </a:xfrm>
          <a:prstGeom prst="line">
            <a:avLst/>
          </a:prstGeom>
          <a:solidFill>
            <a:schemeClr val="tx2"/>
          </a:solidFill>
          <a:ln w="28575"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Titel 1">
            <a:extLst>
              <a:ext uri="{FF2B5EF4-FFF2-40B4-BE49-F238E27FC236}">
                <a16:creationId xmlns:a16="http://schemas.microsoft.com/office/drawing/2014/main" id="{A47CE7D2-A8DC-4EC0-9802-9FA7B4D54293}"/>
              </a:ext>
            </a:extLst>
          </p:cNvPr>
          <p:cNvSpPr>
            <a:spLocks noGrp="1"/>
          </p:cNvSpPr>
          <p:nvPr>
            <p:ph type="title"/>
          </p:nvPr>
        </p:nvSpPr>
        <p:spPr/>
        <p:txBody>
          <a:bodyPr/>
          <a:lstStyle/>
          <a:p>
            <a:r>
              <a:rPr lang="en-US" dirty="0"/>
              <a:t>Classification of applications according to network requirements</a:t>
            </a:r>
            <a:br>
              <a:rPr lang="en-US" dirty="0"/>
            </a:br>
            <a:r>
              <a:rPr lang="en-US" b="0" dirty="0"/>
              <a:t>Factory and Process Automation</a:t>
            </a:r>
          </a:p>
        </p:txBody>
      </p:sp>
      <p:sp>
        <p:nvSpPr>
          <p:cNvPr id="4" name="Foliennummernplatzhalter 3">
            <a:extLst>
              <a:ext uri="{FF2B5EF4-FFF2-40B4-BE49-F238E27FC236}">
                <a16:creationId xmlns:a16="http://schemas.microsoft.com/office/drawing/2014/main" id="{848160B8-C51E-4C0E-BF68-0D8F771F7473}"/>
              </a:ext>
            </a:extLst>
          </p:cNvPr>
          <p:cNvSpPr>
            <a:spLocks noGrp="1"/>
          </p:cNvSpPr>
          <p:nvPr>
            <p:ph type="sldNum" sz="quarter" idx="11"/>
          </p:nvPr>
        </p:nvSpPr>
        <p:spPr/>
        <p:txBody>
          <a:bodyPr/>
          <a:lstStyle/>
          <a:p>
            <a:r>
              <a:rPr lang="en-US" dirty="0"/>
              <a:t>Page </a:t>
            </a:r>
            <a:fld id="{15EBE321-CBB1-4E91-BD14-37C8D44326FB}" type="slidenum">
              <a:rPr lang="en-US" smtClean="0"/>
              <a:pPr/>
              <a:t>3</a:t>
            </a:fld>
            <a:endParaRPr lang="en-US" dirty="0"/>
          </a:p>
        </p:txBody>
      </p:sp>
      <p:sp>
        <p:nvSpPr>
          <p:cNvPr id="14" name="Textfeld 13">
            <a:extLst>
              <a:ext uri="{FF2B5EF4-FFF2-40B4-BE49-F238E27FC236}">
                <a16:creationId xmlns:a16="http://schemas.microsoft.com/office/drawing/2014/main" id="{14CBA35E-DAFA-4D6E-A4BB-B7FDB90BB1C0}"/>
              </a:ext>
            </a:extLst>
          </p:cNvPr>
          <p:cNvSpPr txBox="1"/>
          <p:nvPr/>
        </p:nvSpPr>
        <p:spPr>
          <a:xfrm>
            <a:off x="411164" y="4115058"/>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Closed Loop Control</a:t>
            </a:r>
            <a:br>
              <a:rPr lang="en-US" sz="1598" b="0">
                <a:solidFill>
                  <a:schemeClr val="lt1"/>
                </a:solidFill>
                <a:latin typeface="Arial"/>
              </a:rPr>
            </a:br>
            <a:r>
              <a:rPr lang="en-US" sz="1598" b="0">
                <a:solidFill>
                  <a:schemeClr val="lt1"/>
                </a:solidFill>
                <a:latin typeface="Arial"/>
              </a:rPr>
              <a:t>(Process Automation) </a:t>
            </a:r>
            <a:endParaRPr lang="en-US" sz="1598" b="0" dirty="0">
              <a:solidFill>
                <a:schemeClr val="lt1"/>
              </a:solidFill>
              <a:latin typeface="Arial"/>
            </a:endParaRPr>
          </a:p>
        </p:txBody>
      </p:sp>
      <p:sp>
        <p:nvSpPr>
          <p:cNvPr id="15" name="Textfeld 14">
            <a:extLst>
              <a:ext uri="{FF2B5EF4-FFF2-40B4-BE49-F238E27FC236}">
                <a16:creationId xmlns:a16="http://schemas.microsoft.com/office/drawing/2014/main" id="{9B6AED44-44E7-4124-95D6-9AAF96C69BC3}"/>
              </a:ext>
            </a:extLst>
          </p:cNvPr>
          <p:cNvSpPr txBox="1"/>
          <p:nvPr/>
        </p:nvSpPr>
        <p:spPr>
          <a:xfrm>
            <a:off x="411164" y="4784733"/>
            <a:ext cx="2844000" cy="360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Remote Control</a:t>
            </a:r>
            <a:endParaRPr lang="en-US" sz="1598" b="0" dirty="0">
              <a:solidFill>
                <a:schemeClr val="lt1"/>
              </a:solidFill>
              <a:latin typeface="Arial"/>
            </a:endParaRPr>
          </a:p>
        </p:txBody>
      </p:sp>
      <p:sp>
        <p:nvSpPr>
          <p:cNvPr id="16" name="Textfeld 15">
            <a:extLst>
              <a:ext uri="{FF2B5EF4-FFF2-40B4-BE49-F238E27FC236}">
                <a16:creationId xmlns:a16="http://schemas.microsoft.com/office/drawing/2014/main" id="{A03B43EA-E323-40AB-A82F-5E3156C46778}"/>
              </a:ext>
            </a:extLst>
          </p:cNvPr>
          <p:cNvSpPr txBox="1"/>
          <p:nvPr/>
        </p:nvSpPr>
        <p:spPr>
          <a:xfrm>
            <a:off x="411164" y="5238408"/>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Massive Wireless </a:t>
            </a:r>
            <a:br>
              <a:rPr lang="en-US" sz="1598" b="0">
                <a:solidFill>
                  <a:schemeClr val="lt1"/>
                </a:solidFill>
                <a:latin typeface="Arial"/>
              </a:rPr>
            </a:br>
            <a:r>
              <a:rPr lang="en-US" sz="1598" b="0">
                <a:solidFill>
                  <a:schemeClr val="lt1"/>
                </a:solidFill>
                <a:latin typeface="Arial"/>
              </a:rPr>
              <a:t>Sensor Networks</a:t>
            </a:r>
            <a:endParaRPr lang="en-US" sz="1598" b="0" dirty="0">
              <a:solidFill>
                <a:schemeClr val="lt1"/>
              </a:solidFill>
              <a:latin typeface="Arial"/>
            </a:endParaRPr>
          </a:p>
        </p:txBody>
      </p:sp>
      <p:sp>
        <p:nvSpPr>
          <p:cNvPr id="17" name="Textfeld 16">
            <a:extLst>
              <a:ext uri="{FF2B5EF4-FFF2-40B4-BE49-F238E27FC236}">
                <a16:creationId xmlns:a16="http://schemas.microsoft.com/office/drawing/2014/main" id="{586F1422-0C78-4091-9B54-AC167A866B3D}"/>
              </a:ext>
            </a:extLst>
          </p:cNvPr>
          <p:cNvSpPr txBox="1"/>
          <p:nvPr/>
        </p:nvSpPr>
        <p:spPr>
          <a:xfrm>
            <a:off x="8944344" y="1868358"/>
            <a:ext cx="2844000" cy="360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Augmented Reality</a:t>
            </a:r>
            <a:endParaRPr lang="en-US" sz="1598" b="0" dirty="0">
              <a:solidFill>
                <a:schemeClr val="lt1"/>
              </a:solidFill>
              <a:latin typeface="Arial"/>
            </a:endParaRPr>
          </a:p>
        </p:txBody>
      </p:sp>
      <p:sp>
        <p:nvSpPr>
          <p:cNvPr id="18" name="Textfeld 17">
            <a:extLst>
              <a:ext uri="{FF2B5EF4-FFF2-40B4-BE49-F238E27FC236}">
                <a16:creationId xmlns:a16="http://schemas.microsoft.com/office/drawing/2014/main" id="{4E74034D-F00C-4CB4-BDEF-06E57977CF95}"/>
              </a:ext>
            </a:extLst>
          </p:cNvPr>
          <p:cNvSpPr txBox="1"/>
          <p:nvPr/>
        </p:nvSpPr>
        <p:spPr>
          <a:xfrm>
            <a:off x="8944344" y="2322033"/>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Remote Access &amp; </a:t>
            </a:r>
            <a:br>
              <a:rPr lang="en-US" sz="1598" b="0">
                <a:solidFill>
                  <a:schemeClr val="lt1"/>
                </a:solidFill>
                <a:latin typeface="Arial"/>
              </a:rPr>
            </a:br>
            <a:r>
              <a:rPr lang="en-US" sz="1598" b="0">
                <a:solidFill>
                  <a:schemeClr val="lt1"/>
                </a:solidFill>
                <a:latin typeface="Arial"/>
              </a:rPr>
              <a:t>Maintenance</a:t>
            </a:r>
            <a:endParaRPr lang="en-US" sz="1598" b="0" dirty="0">
              <a:solidFill>
                <a:schemeClr val="lt1"/>
              </a:solidFill>
              <a:latin typeface="Arial"/>
            </a:endParaRPr>
          </a:p>
        </p:txBody>
      </p:sp>
      <p:sp>
        <p:nvSpPr>
          <p:cNvPr id="19" name="Textfeld 18">
            <a:extLst>
              <a:ext uri="{FF2B5EF4-FFF2-40B4-BE49-F238E27FC236}">
                <a16:creationId xmlns:a16="http://schemas.microsoft.com/office/drawing/2014/main" id="{38E44A81-DC02-4958-85DD-FA48E8B2474C}"/>
              </a:ext>
            </a:extLst>
          </p:cNvPr>
          <p:cNvSpPr txBox="1"/>
          <p:nvPr/>
        </p:nvSpPr>
        <p:spPr>
          <a:xfrm>
            <a:off x="8944344" y="2991708"/>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Human Machine </a:t>
            </a:r>
            <a:br>
              <a:rPr lang="en-US" sz="1598" b="0">
                <a:solidFill>
                  <a:schemeClr val="lt1"/>
                </a:solidFill>
                <a:latin typeface="Arial"/>
              </a:rPr>
            </a:br>
            <a:r>
              <a:rPr lang="en-US" sz="1598" b="0">
                <a:solidFill>
                  <a:schemeClr val="lt1"/>
                </a:solidFill>
                <a:latin typeface="Arial"/>
              </a:rPr>
              <a:t>Interface (HMI)</a:t>
            </a:r>
            <a:endParaRPr lang="en-US" sz="1598" b="0" dirty="0">
              <a:solidFill>
                <a:schemeClr val="lt1"/>
              </a:solidFill>
              <a:latin typeface="Arial"/>
            </a:endParaRPr>
          </a:p>
        </p:txBody>
      </p:sp>
      <p:sp>
        <p:nvSpPr>
          <p:cNvPr id="20" name="Textfeld 19">
            <a:extLst>
              <a:ext uri="{FF2B5EF4-FFF2-40B4-BE49-F238E27FC236}">
                <a16:creationId xmlns:a16="http://schemas.microsoft.com/office/drawing/2014/main" id="{84D01CBE-75CC-4BC9-A483-C419110D085B}"/>
              </a:ext>
            </a:extLst>
          </p:cNvPr>
          <p:cNvSpPr txBox="1"/>
          <p:nvPr/>
        </p:nvSpPr>
        <p:spPr>
          <a:xfrm>
            <a:off x="8944344" y="3661383"/>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Automated Guided </a:t>
            </a:r>
            <a:br>
              <a:rPr lang="en-US" sz="1598" b="0">
                <a:solidFill>
                  <a:schemeClr val="lt1"/>
                </a:solidFill>
                <a:latin typeface="Arial"/>
              </a:rPr>
            </a:br>
            <a:r>
              <a:rPr lang="en-US" sz="1598" b="0">
                <a:solidFill>
                  <a:schemeClr val="lt1"/>
                </a:solidFill>
                <a:latin typeface="Arial"/>
              </a:rPr>
              <a:t>Vehicles (AGVs)</a:t>
            </a:r>
            <a:endParaRPr lang="en-US" sz="1598" b="0" dirty="0">
              <a:solidFill>
                <a:schemeClr val="lt1"/>
              </a:solidFill>
              <a:latin typeface="Arial"/>
            </a:endParaRPr>
          </a:p>
        </p:txBody>
      </p:sp>
      <p:sp>
        <p:nvSpPr>
          <p:cNvPr id="21" name="Textfeld 20">
            <a:extLst>
              <a:ext uri="{FF2B5EF4-FFF2-40B4-BE49-F238E27FC236}">
                <a16:creationId xmlns:a16="http://schemas.microsoft.com/office/drawing/2014/main" id="{AEA9D6B4-8A4B-4DB1-A503-174026EAB3BF}"/>
              </a:ext>
            </a:extLst>
          </p:cNvPr>
          <p:cNvSpPr txBox="1"/>
          <p:nvPr/>
        </p:nvSpPr>
        <p:spPr>
          <a:xfrm>
            <a:off x="8944344" y="4331058"/>
            <a:ext cx="2844000" cy="360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Mobile Robots</a:t>
            </a:r>
            <a:endParaRPr lang="en-US" sz="1598" b="0" dirty="0">
              <a:solidFill>
                <a:schemeClr val="lt1"/>
              </a:solidFill>
              <a:latin typeface="Arial"/>
            </a:endParaRPr>
          </a:p>
        </p:txBody>
      </p:sp>
      <p:sp>
        <p:nvSpPr>
          <p:cNvPr id="22" name="Textfeld 21">
            <a:extLst>
              <a:ext uri="{FF2B5EF4-FFF2-40B4-BE49-F238E27FC236}">
                <a16:creationId xmlns:a16="http://schemas.microsoft.com/office/drawing/2014/main" id="{7F2486AD-C985-45D2-B3FD-568F25685CCD}"/>
              </a:ext>
            </a:extLst>
          </p:cNvPr>
          <p:cNvSpPr txBox="1"/>
          <p:nvPr/>
        </p:nvSpPr>
        <p:spPr>
          <a:xfrm>
            <a:off x="8944344" y="4784733"/>
            <a:ext cx="2844000" cy="360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Industrial Safety</a:t>
            </a:r>
            <a:endParaRPr lang="en-US" sz="1598" b="0" dirty="0">
              <a:solidFill>
                <a:schemeClr val="lt1"/>
              </a:solidFill>
              <a:latin typeface="Arial"/>
            </a:endParaRPr>
          </a:p>
        </p:txBody>
      </p:sp>
      <p:sp>
        <p:nvSpPr>
          <p:cNvPr id="23" name="Textfeld 22">
            <a:extLst>
              <a:ext uri="{FF2B5EF4-FFF2-40B4-BE49-F238E27FC236}">
                <a16:creationId xmlns:a16="http://schemas.microsoft.com/office/drawing/2014/main" id="{661A7390-AC6E-48A7-BB3E-C487252845E6}"/>
              </a:ext>
            </a:extLst>
          </p:cNvPr>
          <p:cNvSpPr txBox="1"/>
          <p:nvPr/>
        </p:nvSpPr>
        <p:spPr>
          <a:xfrm>
            <a:off x="8944342" y="5238408"/>
            <a:ext cx="2844000" cy="576000"/>
          </a:xfrm>
          <a:prstGeom prst="rect">
            <a:avLst/>
          </a:prstGeom>
          <a:solidFill>
            <a:schemeClr val="dk2"/>
          </a:solidFill>
          <a:ln>
            <a:noFill/>
          </a:ln>
          <a:effectLst/>
        </p:spPr>
        <p:txBody>
          <a:bodyPr wrap="square" lIns="107888" tIns="0" rIns="107888" bIns="0" numCol="1" spcCol="72000" rtlCol="0" anchor="ctr">
            <a:noAutofit/>
          </a:bodyPr>
          <a:lstStyle>
            <a:defPPr>
              <a:defRPr lang="en-US"/>
            </a:defPPr>
            <a:lvl1pPr>
              <a:spcBef>
                <a:spcPct val="0"/>
              </a:spcBef>
              <a:buFont typeface="Wingdings" charset="0"/>
              <a:buNone/>
              <a:defRPr sz="1599" b="1">
                <a:solidFill>
                  <a:schemeClr val="bg1"/>
                </a:solidFill>
                <a:ea typeface="Arial Unicode MS" panose="020B0604020202020204" pitchFamily="34" charset="-128"/>
                <a:cs typeface="Arial Unicode MS" panose="020B0604020202020204" pitchFamily="34" charset="-128"/>
              </a:defRPr>
            </a:lvl1pPr>
          </a:lstStyle>
          <a:p>
            <a:r>
              <a:rPr lang="en-US" sz="1598" b="0">
                <a:solidFill>
                  <a:schemeClr val="lt1"/>
                </a:solidFill>
                <a:latin typeface="Arial"/>
              </a:rPr>
              <a:t>Closed Loop Control</a:t>
            </a:r>
            <a:br>
              <a:rPr lang="en-US" sz="1598" b="0">
                <a:solidFill>
                  <a:schemeClr val="lt1"/>
                </a:solidFill>
                <a:latin typeface="Arial"/>
              </a:rPr>
            </a:br>
            <a:r>
              <a:rPr lang="en-US" sz="1598" b="0">
                <a:solidFill>
                  <a:schemeClr val="lt1"/>
                </a:solidFill>
                <a:latin typeface="Arial"/>
              </a:rPr>
              <a:t>(Factory Automation)</a:t>
            </a:r>
            <a:endParaRPr lang="en-US" sz="1598" b="0" dirty="0">
              <a:solidFill>
                <a:schemeClr val="lt1"/>
              </a:solidFill>
              <a:latin typeface="Arial"/>
            </a:endParaRPr>
          </a:p>
        </p:txBody>
      </p:sp>
      <p:sp>
        <p:nvSpPr>
          <p:cNvPr id="44" name="Fußzeilenplatzhalter 43">
            <a:extLst>
              <a:ext uri="{FF2B5EF4-FFF2-40B4-BE49-F238E27FC236}">
                <a16:creationId xmlns:a16="http://schemas.microsoft.com/office/drawing/2014/main" id="{0D47B1C7-CA76-436C-AAD7-E29F55D245D5}"/>
              </a:ext>
            </a:extLst>
          </p:cNvPr>
          <p:cNvSpPr>
            <a:spLocks noGrp="1"/>
          </p:cNvSpPr>
          <p:nvPr>
            <p:ph type="ftr" sz="quarter" idx="10"/>
          </p:nvPr>
        </p:nvSpPr>
        <p:spPr/>
        <p:txBody>
          <a:bodyPr/>
          <a:lstStyle/>
          <a:p>
            <a:pPr>
              <a:lnSpc>
                <a:spcPct val="100000"/>
              </a:lnSpc>
            </a:pPr>
            <a:r>
              <a:rPr lang="en-US"/>
              <a:t>Unrestricted © Siemens 2023</a:t>
            </a:r>
            <a:endParaRPr lang="en-US" dirty="0"/>
          </a:p>
        </p:txBody>
      </p:sp>
    </p:spTree>
    <p:extLst>
      <p:ext uri="{BB962C8B-B14F-4D97-AF65-F5344CB8AC3E}">
        <p14:creationId xmlns:p14="http://schemas.microsoft.com/office/powerpoint/2010/main" val="2214483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le 11">
            <a:extLst>
              <a:ext uri="{FF2B5EF4-FFF2-40B4-BE49-F238E27FC236}">
                <a16:creationId xmlns:a16="http://schemas.microsoft.com/office/drawing/2014/main" id="{0123BF2B-5C48-43E8-B856-33F55A08EE68}"/>
              </a:ext>
            </a:extLst>
          </p:cNvPr>
          <p:cNvGraphicFramePr>
            <a:graphicFrameLocks noGrp="1"/>
          </p:cNvGraphicFramePr>
          <p:nvPr>
            <p:extLst>
              <p:ext uri="{D42A27DB-BD31-4B8C-83A1-F6EECF244321}">
                <p14:modId xmlns:p14="http://schemas.microsoft.com/office/powerpoint/2010/main" val="3848867467"/>
              </p:ext>
            </p:extLst>
          </p:nvPr>
        </p:nvGraphicFramePr>
        <p:xfrm>
          <a:off x="410400" y="1093181"/>
          <a:ext cx="11376787" cy="4999680"/>
        </p:xfrm>
        <a:graphic>
          <a:graphicData uri="http://schemas.openxmlformats.org/drawingml/2006/table">
            <a:tbl>
              <a:tblPr bandRow="1">
                <a:tableStyleId>{5C22544A-7EE6-4342-B048-85BDC9FD1C3A}</a:tableStyleId>
              </a:tblPr>
              <a:tblGrid>
                <a:gridCol w="3588163">
                  <a:extLst>
                    <a:ext uri="{9D8B030D-6E8A-4147-A177-3AD203B41FA5}">
                      <a16:colId xmlns:a16="http://schemas.microsoft.com/office/drawing/2014/main" val="3527495912"/>
                    </a:ext>
                  </a:extLst>
                </a:gridCol>
                <a:gridCol w="1947156">
                  <a:extLst>
                    <a:ext uri="{9D8B030D-6E8A-4147-A177-3AD203B41FA5}">
                      <a16:colId xmlns:a16="http://schemas.microsoft.com/office/drawing/2014/main" val="671098194"/>
                    </a:ext>
                  </a:extLst>
                </a:gridCol>
                <a:gridCol w="1947156">
                  <a:extLst>
                    <a:ext uri="{9D8B030D-6E8A-4147-A177-3AD203B41FA5}">
                      <a16:colId xmlns:a16="http://schemas.microsoft.com/office/drawing/2014/main" val="259711802"/>
                    </a:ext>
                  </a:extLst>
                </a:gridCol>
                <a:gridCol w="1947156">
                  <a:extLst>
                    <a:ext uri="{9D8B030D-6E8A-4147-A177-3AD203B41FA5}">
                      <a16:colId xmlns:a16="http://schemas.microsoft.com/office/drawing/2014/main" val="479835713"/>
                    </a:ext>
                  </a:extLst>
                </a:gridCol>
                <a:gridCol w="1947156">
                  <a:extLst>
                    <a:ext uri="{9D8B030D-6E8A-4147-A177-3AD203B41FA5}">
                      <a16:colId xmlns:a16="http://schemas.microsoft.com/office/drawing/2014/main" val="3128722605"/>
                    </a:ext>
                  </a:extLst>
                </a:gridCol>
              </a:tblGrid>
              <a:tr h="255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endParaRPr>
                    </a:p>
                  </a:txBody>
                  <a:tcPr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b="1" dirty="0">
                          <a:solidFill>
                            <a:schemeClr val="dk1"/>
                          </a:solidFill>
                          <a:latin typeface="+mn-lt"/>
                          <a:ea typeface="Arial Unicode MS" panose="020B0604020202020204" pitchFamily="34" charset="-128"/>
                          <a:cs typeface="Arial Unicode MS" panose="020B0604020202020204" pitchFamily="34" charset="-128"/>
                        </a:rPr>
                        <a:t>Release 15</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400" dirty="0">
                          <a:solidFill>
                            <a:schemeClr val="dk1"/>
                          </a:solidFill>
                          <a:latin typeface="+mn-lt"/>
                          <a:ea typeface="Arial Unicode MS" panose="020B0604020202020204" pitchFamily="34" charset="-128"/>
                          <a:cs typeface="Arial Unicode MS" panose="020B0604020202020204" pitchFamily="34" charset="-128"/>
                        </a:rPr>
                        <a:t>Available: Dec. 2018</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400" dirty="0">
                        <a:solidFill>
                          <a:schemeClr val="dk1"/>
                        </a:solidFill>
                        <a:latin typeface="+mn-lt"/>
                        <a:ea typeface="Arial Unicode MS" panose="020B0604020202020204" pitchFamily="34" charset="-128"/>
                        <a:cs typeface="Arial Unicode MS" panose="020B0604020202020204" pitchFamily="34" charset="-128"/>
                      </a:endParaRPr>
                    </a:p>
                  </a:txBody>
                  <a:tcPr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b="1">
                          <a:solidFill>
                            <a:schemeClr val="dk1"/>
                          </a:solidFill>
                          <a:latin typeface="+mn-lt"/>
                          <a:ea typeface="Arial Unicode MS" panose="020B0604020202020204" pitchFamily="34" charset="-128"/>
                          <a:cs typeface="Arial Unicode MS" panose="020B0604020202020204" pitchFamily="34" charset="-128"/>
                        </a:rPr>
                        <a:t>Release 16</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dk1"/>
                          </a:solidFill>
                          <a:latin typeface="+mn-lt"/>
                          <a:ea typeface="Arial Unicode MS" panose="020B0604020202020204" pitchFamily="34" charset="-128"/>
                          <a:cs typeface="Arial Unicode MS" panose="020B0604020202020204" pitchFamily="34" charset="-128"/>
                        </a:rPr>
                        <a:t>Available</a:t>
                      </a:r>
                      <a:r>
                        <a:rPr lang="en-US" sz="1400" dirty="0">
                          <a:solidFill>
                            <a:schemeClr val="dk1"/>
                          </a:solidFill>
                          <a:latin typeface="+mn-lt"/>
                          <a:ea typeface="Arial Unicode MS" panose="020B0604020202020204" pitchFamily="34" charset="-128"/>
                          <a:cs typeface="Arial Unicode MS" panose="020B0604020202020204" pitchFamily="34" charset="-128"/>
                        </a:rPr>
                        <a:t>: July 2020</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400" dirty="0">
                        <a:solidFill>
                          <a:schemeClr val="dk1"/>
                        </a:solidFill>
                        <a:latin typeface="+mn-lt"/>
                        <a:ea typeface="Arial Unicode MS" panose="020B0604020202020204" pitchFamily="34" charset="-128"/>
                        <a:cs typeface="Arial Unicode MS" panose="020B0604020202020204" pitchFamily="34" charset="-128"/>
                      </a:endParaRPr>
                    </a:p>
                  </a:txBody>
                  <a:tcPr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b="1">
                          <a:solidFill>
                            <a:schemeClr val="dk1"/>
                          </a:solidFill>
                          <a:latin typeface="+mn-lt"/>
                          <a:ea typeface="Arial Unicode MS" panose="020B0604020202020204" pitchFamily="34" charset="-128"/>
                          <a:cs typeface="Arial Unicode MS" panose="020B0604020202020204" pitchFamily="34" charset="-128"/>
                        </a:rPr>
                        <a:t>Release 17</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dk1"/>
                          </a:solidFill>
                          <a:latin typeface="+mn-lt"/>
                          <a:ea typeface="Arial Unicode MS" panose="020B0604020202020204" pitchFamily="34" charset="-128"/>
                          <a:cs typeface="Arial Unicode MS" panose="020B0604020202020204" pitchFamily="34" charset="-128"/>
                        </a:rPr>
                        <a:t>Available</a:t>
                      </a:r>
                      <a:r>
                        <a:rPr lang="en-US" sz="1400" dirty="0">
                          <a:solidFill>
                            <a:schemeClr val="dk1"/>
                          </a:solidFill>
                          <a:latin typeface="+mn-lt"/>
                          <a:ea typeface="Arial Unicode MS" panose="020B0604020202020204" pitchFamily="34" charset="-128"/>
                          <a:cs typeface="Arial Unicode MS" panose="020B0604020202020204" pitchFamily="34" charset="-128"/>
                        </a:rPr>
                        <a:t>: June 2022</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400" dirty="0">
                        <a:solidFill>
                          <a:schemeClr val="dk1"/>
                        </a:solidFill>
                        <a:latin typeface="+mn-lt"/>
                        <a:ea typeface="Arial Unicode MS" panose="020B0604020202020204" pitchFamily="34" charset="-128"/>
                        <a:cs typeface="Arial Unicode MS" panose="020B0604020202020204" pitchFamily="34" charset="-128"/>
                      </a:endParaRPr>
                    </a:p>
                  </a:txBody>
                  <a:tcPr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b="1">
                          <a:solidFill>
                            <a:schemeClr val="dk1"/>
                          </a:solidFill>
                        </a:rPr>
                        <a:t>Release 18</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dk1"/>
                          </a:solidFill>
                        </a:rPr>
                        <a:t>Planned</a:t>
                      </a:r>
                      <a:r>
                        <a:rPr lang="en-US" sz="1400" dirty="0">
                          <a:solidFill>
                            <a:schemeClr val="dk1"/>
                          </a:solidFill>
                        </a:rPr>
                        <a:t>: Q2/2024</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400" dirty="0">
                        <a:solidFill>
                          <a:schemeClr val="dk1"/>
                        </a:solidFill>
                        <a:latin typeface="+mn-lt"/>
                        <a:ea typeface="Arial Unicode MS" panose="020B0604020202020204" pitchFamily="34" charset="-128"/>
                        <a:cs typeface="Arial Unicode MS" panose="020B0604020202020204" pitchFamily="34" charset="-128"/>
                      </a:endParaRPr>
                    </a:p>
                  </a:txBody>
                  <a:tcPr marT="18000" marB="1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0568014"/>
                  </a:ext>
                </a:extLst>
              </a:tr>
              <a:tr h="175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Data rate / Area traffic capacity (20 Gbps)</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chemeClr val="dk1"/>
                          </a:solidFill>
                        </a:rPr>
                        <a:t>Complete</a:t>
                      </a:r>
                      <a:endParaRPr lang="en-US" sz="1100" b="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2256210832"/>
                  </a:ext>
                </a:extLst>
              </a:tr>
              <a:tr h="175365">
                <a:tc>
                  <a:txBody>
                    <a:bodyPr/>
                    <a:lstStyle/>
                    <a:p>
                      <a:r>
                        <a:rPr lang="en-US" sz="1100" dirty="0">
                          <a:solidFill>
                            <a:schemeClr val="tx1"/>
                          </a:solidFill>
                        </a:rPr>
                        <a:t>Spectrum efficiency (3 x 4G)</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chemeClr val="dk1"/>
                          </a:solidFill>
                        </a:rPr>
                        <a:t>Complete</a:t>
                      </a:r>
                      <a:endParaRPr lang="en-US" sz="1100" b="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1699691864"/>
                  </a:ext>
                </a:extLst>
              </a:tr>
              <a:tr h="175365">
                <a:tc>
                  <a:txBody>
                    <a:bodyPr/>
                    <a:lstStyle/>
                    <a:p>
                      <a:r>
                        <a:rPr lang="en-US" sz="1100" dirty="0">
                          <a:solidFill>
                            <a:schemeClr val="tx1"/>
                          </a:solidFill>
                        </a:rPr>
                        <a:t>Network Energy efficiency (100x 4G)</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chemeClr val="dk1"/>
                          </a:solidFill>
                        </a:rPr>
                        <a:t>Complete</a:t>
                      </a:r>
                      <a:endParaRPr lang="en-US" sz="1100" b="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991390727"/>
                  </a:ext>
                </a:extLst>
              </a:tr>
              <a:tr h="175365">
                <a:tc>
                  <a:txBody>
                    <a:bodyPr/>
                    <a:lstStyle/>
                    <a:p>
                      <a:r>
                        <a:rPr lang="en-US" sz="1100" dirty="0">
                          <a:solidFill>
                            <a:schemeClr val="tx1"/>
                          </a:solidFill>
                        </a:rPr>
                        <a:t>Connection density (1,000,000 / km</a:t>
                      </a:r>
                      <a:r>
                        <a:rPr lang="en-US" sz="1100" baseline="30000" dirty="0">
                          <a:solidFill>
                            <a:schemeClr val="tx1"/>
                          </a:solidFill>
                        </a:rPr>
                        <a:t>2</a:t>
                      </a:r>
                      <a:r>
                        <a:rPr lang="en-US" sz="1100" dirty="0">
                          <a:solidFill>
                            <a:schemeClr val="tx1"/>
                          </a:solidFill>
                        </a:rPr>
                        <a:t>)</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t>Partially</a:t>
                      </a:r>
                      <a:endParaRPr lang="en-US" sz="1100" b="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2581836614"/>
                  </a:ext>
                </a:extLst>
              </a:tr>
              <a:tr h="175365">
                <a:tc>
                  <a:txBody>
                    <a:bodyPr/>
                    <a:lstStyle/>
                    <a:p>
                      <a:r>
                        <a:rPr lang="en-US" sz="1100" dirty="0">
                          <a:solidFill>
                            <a:schemeClr val="tx1"/>
                          </a:solidFill>
                        </a:rPr>
                        <a:t>Latency (&lt;10 </a:t>
                      </a:r>
                      <a:r>
                        <a:rPr lang="en-US" sz="1100" dirty="0" err="1">
                          <a:solidFill>
                            <a:schemeClr val="tx1"/>
                          </a:solidFill>
                        </a:rPr>
                        <a:t>ms</a:t>
                      </a:r>
                      <a:r>
                        <a:rPr lang="en-US" sz="1100" dirty="0">
                          <a:solidFill>
                            <a:schemeClr val="tx1"/>
                          </a:solidFill>
                        </a:rPr>
                        <a:t>)</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2160125689"/>
                  </a:ext>
                </a:extLst>
              </a:tr>
              <a:tr h="175365">
                <a:tc>
                  <a:txBody>
                    <a:bodyPr/>
                    <a:lstStyle/>
                    <a:p>
                      <a:r>
                        <a:rPr lang="en-US" sz="1100" dirty="0">
                          <a:solidFill>
                            <a:schemeClr val="tx1"/>
                          </a:solidFill>
                        </a:rPr>
                        <a:t>Reliability (99.999% under 10 ms)</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979933948"/>
                  </a:ext>
                </a:extLst>
              </a:tr>
              <a:tr h="175365">
                <a:tc>
                  <a:txBody>
                    <a:bodyPr/>
                    <a:lstStyle/>
                    <a:p>
                      <a:r>
                        <a:rPr lang="en-US" sz="1100" dirty="0">
                          <a:solidFill>
                            <a:schemeClr val="tx1"/>
                          </a:solidFill>
                        </a:rPr>
                        <a:t>Mobility (handover/ roaming with 500 km/h)</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chemeClr val="dk1"/>
                          </a:solidFill>
                        </a:rPr>
                        <a:t>Complete</a:t>
                      </a:r>
                      <a:endParaRPr lang="en-US" sz="1100" b="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2103260069"/>
                  </a:ext>
                </a:extLst>
              </a:tr>
              <a:tr h="175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Localization (Phase 1: 1 meter accuracy)</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100" kern="1200" dirty="0">
                          <a:solidFill>
                            <a:schemeClr val="dk1"/>
                          </a:solidFill>
                        </a:rPr>
                        <a:t>Complete </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1002422617"/>
                  </a:ext>
                </a:extLst>
              </a:tr>
              <a:tr h="175365">
                <a:tc>
                  <a:txBody>
                    <a:bodyPr/>
                    <a:lstStyle/>
                    <a:p>
                      <a:r>
                        <a:rPr lang="en-US" sz="1100" dirty="0">
                          <a:solidFill>
                            <a:schemeClr val="tx1"/>
                          </a:solidFill>
                        </a:rPr>
                        <a:t>Non-public networks (Private Networks)</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364883690"/>
                  </a:ext>
                </a:extLst>
              </a:tr>
              <a:tr h="175365">
                <a:tc>
                  <a:txBody>
                    <a:bodyPr/>
                    <a:lstStyle/>
                    <a:p>
                      <a:r>
                        <a:rPr lang="en-US" sz="1100" dirty="0">
                          <a:solidFill>
                            <a:schemeClr val="tx1"/>
                          </a:solidFill>
                        </a:rPr>
                        <a:t>Industrial IoT (TSN Support)</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Partially</a:t>
                      </a:r>
                      <a:endParaRPr lang="en-US" sz="1100" dirty="0">
                        <a:latin typeface="+mn-lt"/>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Partially</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Complete</a:t>
                      </a:r>
                      <a:endParaRPr lang="en-US" sz="1100" kern="1200" dirty="0">
                        <a:solidFill>
                          <a:schemeClr val="dk1"/>
                        </a:solidFill>
                        <a:latin typeface="+mn-lt"/>
                        <a:ea typeface="+mn-ea"/>
                        <a:cs typeface="+mn-cs"/>
                      </a:endParaRPr>
                    </a:p>
                  </a:txBody>
                  <a:tcPr marT="18000" marB="18000">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265625519"/>
                  </a:ext>
                </a:extLst>
              </a:tr>
              <a:tr h="175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etwork slicing (Multiple networks on shared network)</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chemeClr val="dk1"/>
                          </a:solidFill>
                          <a:latin typeface="+mn-lt"/>
                          <a:ea typeface="+mn-ea"/>
                          <a:cs typeface="+mn-cs"/>
                        </a:rPr>
                        <a:t>Complete</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Complete</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Complete (+ more)</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Complete (+ more)</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3372041361"/>
                  </a:ext>
                </a:extLst>
              </a:tr>
              <a:tr h="175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err="1">
                          <a:solidFill>
                            <a:schemeClr val="tx1"/>
                          </a:solidFill>
                          <a:latin typeface="+mn-lt"/>
                          <a:ea typeface="+mn-ea"/>
                          <a:cs typeface="+mn-cs"/>
                        </a:rPr>
                        <a:t>SideLink</a:t>
                      </a:r>
                      <a:r>
                        <a:rPr lang="en-US" sz="1100" kern="1200" dirty="0">
                          <a:solidFill>
                            <a:schemeClr val="tx1"/>
                          </a:solidFill>
                          <a:latin typeface="+mn-lt"/>
                          <a:ea typeface="+mn-ea"/>
                          <a:cs typeface="+mn-cs"/>
                        </a:rPr>
                        <a:t> (Direct </a:t>
                      </a:r>
                      <a:r>
                        <a:rPr lang="en-US" sz="1100" dirty="0">
                          <a:solidFill>
                            <a:schemeClr val="tx1"/>
                          </a:solidFill>
                        </a:rPr>
                        <a:t>Communication between end-devices)</a:t>
                      </a:r>
                    </a:p>
                  </a:txBody>
                  <a:tcPr marT="18000" marB="18000">
                    <a:lnL w="12700" cap="flat" cmpd="sng" algn="ctr">
                      <a:no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rgbClr val="EC6602"/>
                          </a:solidFill>
                        </a:rPr>
                        <a:t>None</a:t>
                      </a:r>
                      <a:endParaRPr lang="en-US" sz="1100" b="0" dirty="0">
                        <a:solidFill>
                          <a:srgbClr val="EC6602"/>
                        </a:solidFill>
                        <a:latin typeface="+mn-lt"/>
                      </a:endParaRP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Partially</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Partially</a:t>
                      </a:r>
                      <a:endParaRPr lang="en-US" sz="1100" kern="1200" dirty="0">
                        <a:solidFill>
                          <a:schemeClr val="dk1"/>
                        </a:solidFill>
                        <a:latin typeface="+mn-lt"/>
                        <a:ea typeface="+mn-ea"/>
                        <a:cs typeface="+mn-cs"/>
                      </a:endParaRP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Complete</a:t>
                      </a:r>
                    </a:p>
                  </a:txBody>
                  <a:tcPr marT="18000" marB="1800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lnTlToBr w="12700" cmpd="sng">
                      <a:noFill/>
                      <a:prstDash val="solid"/>
                    </a:lnTlToBr>
                    <a:lnBlToTr w="12700" cmpd="sng">
                      <a:noFill/>
                      <a:prstDash val="solid"/>
                    </a:lnBlToTr>
                    <a:solidFill>
                      <a:srgbClr val="00D7A0"/>
                    </a:solidFill>
                  </a:tcPr>
                </a:tc>
                <a:extLst>
                  <a:ext uri="{0D108BD9-81ED-4DB2-BD59-A6C34878D82A}">
                    <a16:rowId xmlns:a16="http://schemas.microsoft.com/office/drawing/2014/main" val="3527266166"/>
                  </a:ext>
                </a:extLst>
              </a:tr>
            </a:tbl>
          </a:graphicData>
        </a:graphic>
      </p:graphicFrame>
      <p:graphicFrame>
        <p:nvGraphicFramePr>
          <p:cNvPr id="14" name="Objekt 13" hidden="1">
            <a:extLst>
              <a:ext uri="{FF2B5EF4-FFF2-40B4-BE49-F238E27FC236}">
                <a16:creationId xmlns:a16="http://schemas.microsoft.com/office/drawing/2014/main" id="{30350438-EFF1-472B-AF56-F7463E482E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663" imgH="664" progId="TCLayout.ActiveDocument.1">
                  <p:embed/>
                </p:oleObj>
              </mc:Choice>
              <mc:Fallback>
                <p:oleObj name="think-cell Folie" r:id="rId9" imgW="663" imgH="664" progId="TCLayout.ActiveDocument.1">
                  <p:embed/>
                  <p:pic>
                    <p:nvPicPr>
                      <p:cNvPr id="14" name="Objekt 13" hidden="1">
                        <a:extLst>
                          <a:ext uri="{FF2B5EF4-FFF2-40B4-BE49-F238E27FC236}">
                            <a16:creationId xmlns:a16="http://schemas.microsoft.com/office/drawing/2014/main" id="{30350438-EFF1-472B-AF56-F7463E482EA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F16676-4F5A-49C8-A662-37F11D33B72F}"/>
              </a:ext>
            </a:extLst>
          </p:cNvPr>
          <p:cNvSpPr>
            <a:spLocks noGrp="1"/>
          </p:cNvSpPr>
          <p:nvPr>
            <p:ph type="title"/>
          </p:nvPr>
        </p:nvSpPr>
        <p:spPr/>
        <p:txBody>
          <a:bodyPr vert="horz"/>
          <a:lstStyle/>
          <a:p>
            <a:r>
              <a:rPr lang="en-US" dirty="0"/>
              <a:t>Why can we only start with Release 16 in Industry?</a:t>
            </a:r>
          </a:p>
        </p:txBody>
      </p:sp>
      <p:sp>
        <p:nvSpPr>
          <p:cNvPr id="6" name="Fußzeilenplatzhalter 5">
            <a:extLst>
              <a:ext uri="{FF2B5EF4-FFF2-40B4-BE49-F238E27FC236}">
                <a16:creationId xmlns:a16="http://schemas.microsoft.com/office/drawing/2014/main" id="{20230080-2915-48BB-8430-33908647D5FE}"/>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7" name="Foliennummernplatzhalter 6">
            <a:extLst>
              <a:ext uri="{FF2B5EF4-FFF2-40B4-BE49-F238E27FC236}">
                <a16:creationId xmlns:a16="http://schemas.microsoft.com/office/drawing/2014/main" id="{87D0D325-AF25-4872-9198-45246438D7E4}"/>
              </a:ext>
            </a:extLst>
          </p:cNvPr>
          <p:cNvSpPr>
            <a:spLocks noGrp="1"/>
          </p:cNvSpPr>
          <p:nvPr>
            <p:ph type="sldNum" sz="quarter" idx="11"/>
          </p:nvPr>
        </p:nvSpPr>
        <p:spPr/>
        <p:txBody>
          <a:bodyPr/>
          <a:lstStyle/>
          <a:p>
            <a:r>
              <a:rPr lang="en-US" dirty="0"/>
              <a:t>Page </a:t>
            </a:r>
            <a:fld id="{15EBE321-CBB1-4E91-BD14-37C8D44326FB}" type="slidenum">
              <a:rPr lang="en-US" smtClean="0"/>
              <a:pPr/>
              <a:t>4</a:t>
            </a:fld>
            <a:endParaRPr lang="en-US" dirty="0"/>
          </a:p>
        </p:txBody>
      </p:sp>
      <p:grpSp>
        <p:nvGrpSpPr>
          <p:cNvPr id="11" name="Gruppieren 10">
            <a:extLst>
              <a:ext uri="{FF2B5EF4-FFF2-40B4-BE49-F238E27FC236}">
                <a16:creationId xmlns:a16="http://schemas.microsoft.com/office/drawing/2014/main" id="{4D533FB6-8CAB-4068-AD08-CB3D025E4D98}"/>
              </a:ext>
            </a:extLst>
          </p:cNvPr>
          <p:cNvGrpSpPr>
            <a:grpSpLocks/>
          </p:cNvGrpSpPr>
          <p:nvPr/>
        </p:nvGrpSpPr>
        <p:grpSpPr bwMode="gray">
          <a:xfrm>
            <a:off x="4202476" y="1489600"/>
            <a:ext cx="1548000" cy="1368000"/>
            <a:chOff x="1059160" y="1417422"/>
            <a:chExt cx="1561038" cy="1351905"/>
          </a:xfrm>
        </p:grpSpPr>
        <p:sp>
          <p:nvSpPr>
            <p:cNvPr id="15" name="Freihandform: Form 14">
              <a:extLst>
                <a:ext uri="{FF2B5EF4-FFF2-40B4-BE49-F238E27FC236}">
                  <a16:creationId xmlns:a16="http://schemas.microsoft.com/office/drawing/2014/main" id="{AF37641F-9981-4A19-86B7-77296CD4D245}"/>
                </a:ext>
              </a:extLst>
            </p:cNvPr>
            <p:cNvSpPr>
              <a:spLocks/>
            </p:cNvSpPr>
            <p:nvPr/>
          </p:nvSpPr>
          <p:spPr bwMode="gray">
            <a:xfrm>
              <a:off x="1517411" y="1551380"/>
              <a:ext cx="641697" cy="743018"/>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Lst>
              <a:ahLst/>
              <a:cxnLst>
                <a:cxn ang="0">
                  <a:pos x="connsiteX0" y="connsiteY0"/>
                </a:cxn>
                <a:cxn ang="0">
                  <a:pos x="connsiteX1" y="connsiteY1"/>
                </a:cxn>
                <a:cxn ang="0">
                  <a:pos x="connsiteX2" y="connsiteY2"/>
                </a:cxn>
                <a:cxn ang="0">
                  <a:pos x="connsiteX3" y="connsiteY3"/>
                </a:cxn>
              </a:cxnLst>
              <a:rect l="l" t="t" r="r" b="b"/>
              <a:pathLst>
                <a:path w="2352675" h="2724150">
                  <a:moveTo>
                    <a:pt x="2361533" y="2045113"/>
                  </a:moveTo>
                  <a:lnTo>
                    <a:pt x="1180719" y="2726912"/>
                  </a:lnTo>
                  <a:lnTo>
                    <a:pt x="0" y="2045208"/>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80000" rtlCol="0" anchor="b" anchorCtr="0"/>
            <a:lstStyle/>
            <a:p>
              <a:pPr marL="0" marR="0" lvl="0" indent="0" algn="ctr" defTabSz="914400" rtl="0" eaLnBrk="1" fontAlgn="auto" latinLnBrk="0" hangingPunct="1">
                <a:lnSpc>
                  <a:spcPct val="110000"/>
                </a:lnSpc>
                <a:spcBef>
                  <a:spcPct val="0"/>
                </a:spcBef>
                <a:spcAft>
                  <a:spcPts val="0"/>
                </a:spcAft>
                <a:buClr>
                  <a:srgbClr val="009999"/>
                </a:buClr>
                <a:buSzTx/>
                <a:buFont typeface="Arial" pitchFamily="34" charset="0"/>
                <a:buNone/>
                <a:tabLst/>
                <a:defRPr/>
              </a:pPr>
              <a:r>
                <a:rPr kumimoji="0" lang="en-US" sz="800" b="1" i="0" strike="noStrike" kern="0" cap="none" spc="0" normalizeH="0" noProof="0">
                  <a:ln>
                    <a:noFill/>
                  </a:ln>
                  <a:solidFill>
                    <a:schemeClr val="tx1"/>
                  </a:solidFill>
                  <a:effectLst/>
                  <a:uLnTx/>
                  <a:uFillTx/>
                  <a:latin typeface="Arial"/>
                  <a:ea typeface="+mn-ea"/>
                  <a:cs typeface="Arial" pitchFamily="34" charset="0"/>
                </a:rPr>
                <a:t>eMBB</a:t>
              </a:r>
              <a:endParaRPr kumimoji="0" lang="en-US" sz="800" b="1" i="0" strike="noStrike" kern="0" cap="none" spc="0" normalizeH="0" noProof="0" dirty="0">
                <a:ln>
                  <a:noFill/>
                </a:ln>
                <a:solidFill>
                  <a:schemeClr val="tx1"/>
                </a:solidFill>
                <a:effectLst/>
                <a:uLnTx/>
                <a:uFillTx/>
                <a:latin typeface="Arial"/>
                <a:ea typeface="+mn-ea"/>
                <a:cs typeface="Arial" pitchFamily="34" charset="0"/>
              </a:endParaRPr>
            </a:p>
          </p:txBody>
        </p:sp>
        <p:sp>
          <p:nvSpPr>
            <p:cNvPr id="16" name="Freihandform: Form 15">
              <a:extLst>
                <a:ext uri="{FF2B5EF4-FFF2-40B4-BE49-F238E27FC236}">
                  <a16:creationId xmlns:a16="http://schemas.microsoft.com/office/drawing/2014/main" id="{BFFC9E1B-D24D-4B23-8CB6-E79DA7DFA061}"/>
                </a:ext>
              </a:extLst>
            </p:cNvPr>
            <p:cNvSpPr/>
            <p:nvPr/>
          </p:nvSpPr>
          <p:spPr bwMode="gray">
            <a:xfrm>
              <a:off x="1175000" y="2144469"/>
              <a:ext cx="641697" cy="566481"/>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3" y="681704"/>
                  </a:moveTo>
                  <a:lnTo>
                    <a:pt x="2361533" y="2045113"/>
                  </a:lnTo>
                  <a:lnTo>
                    <a:pt x="0" y="2045113"/>
                  </a:lnTo>
                  <a:lnTo>
                    <a:pt x="1180814" y="0"/>
                  </a:lnTo>
                  <a:close/>
                </a:path>
              </a:pathLst>
            </a:custGeom>
            <a:solidFill>
              <a:srgbClr val="333353">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latin typeface="Arial"/>
                  <a:cs typeface="Arial" pitchFamily="34" charset="0"/>
                </a:rPr>
                <a:t>mMTC</a:t>
              </a:r>
              <a:endParaRPr lang="en-US" sz="800" b="1" kern="0" dirty="0">
                <a:latin typeface="Arial"/>
                <a:cs typeface="Arial" pitchFamily="34" charset="0"/>
              </a:endParaRPr>
            </a:p>
          </p:txBody>
        </p:sp>
        <p:sp>
          <p:nvSpPr>
            <p:cNvPr id="17" name="Freihandform: Form 16">
              <a:extLst>
                <a:ext uri="{FF2B5EF4-FFF2-40B4-BE49-F238E27FC236}">
                  <a16:creationId xmlns:a16="http://schemas.microsoft.com/office/drawing/2014/main" id="{3AD85F88-30F6-4AE5-B73A-FE86B3634E1C}"/>
                </a:ext>
              </a:extLst>
            </p:cNvPr>
            <p:cNvSpPr/>
            <p:nvPr/>
          </p:nvSpPr>
          <p:spPr bwMode="gray">
            <a:xfrm>
              <a:off x="1859824" y="2144443"/>
              <a:ext cx="662686" cy="568156"/>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4" y="2045208"/>
                  </a:moveTo>
                  <a:lnTo>
                    <a:pt x="0" y="2045208"/>
                  </a:lnTo>
                  <a:lnTo>
                    <a:pt x="0" y="681704"/>
                  </a:lnTo>
                  <a:lnTo>
                    <a:pt x="1180814" y="0"/>
                  </a:lnTo>
                  <a:close/>
                </a:path>
              </a:pathLst>
            </a:custGeom>
            <a:solidFill>
              <a:srgbClr val="333353">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latin typeface="Arial"/>
                  <a:cs typeface="Arial" pitchFamily="34" charset="0"/>
                </a:rPr>
                <a:t>URLLC</a:t>
              </a:r>
              <a:endParaRPr lang="en-US" sz="800" b="1" kern="0" dirty="0">
                <a:latin typeface="Arial"/>
                <a:cs typeface="Arial" pitchFamily="34" charset="0"/>
              </a:endParaRPr>
            </a:p>
          </p:txBody>
        </p:sp>
        <p:sp>
          <p:nvSpPr>
            <p:cNvPr id="18" name="TextBox 5">
              <a:extLst>
                <a:ext uri="{FF2B5EF4-FFF2-40B4-BE49-F238E27FC236}">
                  <a16:creationId xmlns:a16="http://schemas.microsoft.com/office/drawing/2014/main" id="{B3A0CE38-1172-4C84-91A0-A4814238BE9E}"/>
                </a:ext>
              </a:extLst>
            </p:cNvPr>
            <p:cNvSpPr txBox="1">
              <a:spLocks noChangeArrowheads="1"/>
            </p:cNvSpPr>
            <p:nvPr>
              <p:custDataLst>
                <p:tags r:id="rId6"/>
              </p:custDataLst>
            </p:nvPr>
          </p:nvSpPr>
          <p:spPr bwMode="gray">
            <a:xfrm>
              <a:off x="1739747" y="2187032"/>
              <a:ext cx="216000" cy="216000"/>
            </a:xfrm>
            <a:prstGeom prst="ellipse">
              <a:avLst/>
            </a:prstGeom>
            <a:noFill/>
            <a:ln w="9525">
              <a:noFill/>
              <a:miter lim="800000"/>
              <a:headEnd/>
              <a:tailEnd/>
            </a:ln>
            <a:effectLst>
              <a:glow rad="88900">
                <a:schemeClr val="accent6">
                  <a:alpha val="83000"/>
                </a:schemeClr>
              </a:glow>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1100" b="1" i="0" strike="noStrike" kern="0" cap="none" spc="0" normalizeH="0" noProof="0">
                  <a:ln>
                    <a:noFill/>
                  </a:ln>
                  <a:solidFill>
                    <a:schemeClr val="dk2"/>
                  </a:solidFill>
                  <a:effectLst/>
                  <a:uLnTx/>
                  <a:uFillTx/>
                  <a:latin typeface="Arial" pitchFamily="34" charset="0"/>
                  <a:ea typeface="+mn-ea"/>
                  <a:cs typeface="Arial" pitchFamily="34" charset="0"/>
                </a:rPr>
                <a:t>5G</a:t>
              </a:r>
              <a:endParaRPr kumimoji="0" lang="en-US" sz="1100" b="1" i="0" strike="noStrike" kern="0" cap="none" spc="0" normalizeH="0" noProof="0" dirty="0">
                <a:ln>
                  <a:noFill/>
                </a:ln>
                <a:solidFill>
                  <a:schemeClr val="dk2"/>
                </a:solidFill>
                <a:effectLst/>
                <a:uLnTx/>
                <a:uFillTx/>
                <a:latin typeface="Arial" pitchFamily="34" charset="0"/>
                <a:ea typeface="+mn-ea"/>
                <a:cs typeface="Arial" pitchFamily="34" charset="0"/>
              </a:endParaRPr>
            </a:p>
          </p:txBody>
        </p:sp>
        <p:sp>
          <p:nvSpPr>
            <p:cNvPr id="19" name="Freihandform: Form 18">
              <a:extLst>
                <a:ext uri="{FF2B5EF4-FFF2-40B4-BE49-F238E27FC236}">
                  <a16:creationId xmlns:a16="http://schemas.microsoft.com/office/drawing/2014/main" id="{186F93C1-C04E-4025-ACEA-2AEAC328716E}"/>
                </a:ext>
              </a:extLst>
            </p:cNvPr>
            <p:cNvSpPr/>
            <p:nvPr/>
          </p:nvSpPr>
          <p:spPr bwMode="gray">
            <a:xfrm>
              <a:off x="1059160" y="2114095"/>
              <a:ext cx="756609" cy="655232"/>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 name="connsiteX0" fmla="*/ 2361533 w 2468452"/>
                <a:gd name="connsiteY0" fmla="*/ 681704 h 2045113"/>
                <a:gd name="connsiteX1" fmla="*/ 2361533 w 2468452"/>
                <a:gd name="connsiteY1" fmla="*/ 2045113 h 2045113"/>
                <a:gd name="connsiteX2" fmla="*/ 0 w 2468452"/>
                <a:gd name="connsiteY2" fmla="*/ 2045113 h 2045113"/>
                <a:gd name="connsiteX3" fmla="*/ 1180814 w 2468452"/>
                <a:gd name="connsiteY3" fmla="*/ 0 h 2045113"/>
                <a:gd name="connsiteX4" fmla="*/ 2468452 w 2468452"/>
                <a:gd name="connsiteY4" fmla="*/ 788623 h 2045113"/>
                <a:gd name="connsiteX0" fmla="*/ 2361533 w 2361533"/>
                <a:gd name="connsiteY0" fmla="*/ 681704 h 2045113"/>
                <a:gd name="connsiteX1" fmla="*/ 2361533 w 2361533"/>
                <a:gd name="connsiteY1" fmla="*/ 2045113 h 2045113"/>
                <a:gd name="connsiteX2" fmla="*/ 0 w 2361533"/>
                <a:gd name="connsiteY2" fmla="*/ 2045113 h 2045113"/>
                <a:gd name="connsiteX3" fmla="*/ 1180814 w 2361533"/>
                <a:gd name="connsiteY3" fmla="*/ 0 h 2045113"/>
                <a:gd name="connsiteX0" fmla="*/ 2361533 w 2361533"/>
                <a:gd name="connsiteY0" fmla="*/ 2045113 h 2045113"/>
                <a:gd name="connsiteX1" fmla="*/ 0 w 2361533"/>
                <a:gd name="connsiteY1" fmla="*/ 2045113 h 2045113"/>
                <a:gd name="connsiteX2" fmla="*/ 1180814 w 2361533"/>
                <a:gd name="connsiteY2" fmla="*/ 0 h 2045113"/>
              </a:gdLst>
              <a:ahLst/>
              <a:cxnLst>
                <a:cxn ang="0">
                  <a:pos x="connsiteX0" y="connsiteY0"/>
                </a:cxn>
                <a:cxn ang="0">
                  <a:pos x="connsiteX1" y="connsiteY1"/>
                </a:cxn>
                <a:cxn ang="0">
                  <a:pos x="connsiteX2" y="connsiteY2"/>
                </a:cxn>
              </a:cxnLst>
              <a:rect l="l" t="t" r="r" b="b"/>
              <a:pathLst>
                <a:path w="2361533" h="2045113">
                  <a:moveTo>
                    <a:pt x="2361533" y="2045113"/>
                  </a:moveTo>
                  <a:lnTo>
                    <a:pt x="0" y="2045113"/>
                  </a:lnTo>
                  <a:lnTo>
                    <a:pt x="1180814" y="0"/>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i="0" strike="noStrike" kern="0" cap="none" spc="0" normalizeH="0" noProof="0" dirty="0">
                <a:ln>
                  <a:noFill/>
                </a:ln>
                <a:solidFill>
                  <a:prstClr val="white"/>
                </a:solidFill>
                <a:effectLst/>
                <a:uLnTx/>
                <a:uFillTx/>
              </a:endParaRPr>
            </a:p>
          </p:txBody>
        </p:sp>
        <p:sp>
          <p:nvSpPr>
            <p:cNvPr id="20" name="Freihandform: Form 19">
              <a:extLst>
                <a:ext uri="{FF2B5EF4-FFF2-40B4-BE49-F238E27FC236}">
                  <a16:creationId xmlns:a16="http://schemas.microsoft.com/office/drawing/2014/main" id="{68E53CED-A3BD-4100-A9DD-BC091DA32B08}"/>
                </a:ext>
              </a:extLst>
            </p:cNvPr>
            <p:cNvSpPr/>
            <p:nvPr/>
          </p:nvSpPr>
          <p:spPr bwMode="gray">
            <a:xfrm>
              <a:off x="1461374" y="1417422"/>
              <a:ext cx="756609" cy="655262"/>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 name="connsiteX0" fmla="*/ 1180719 w 2361533"/>
                <a:gd name="connsiteY0" fmla="*/ 2726912 h 2833831"/>
                <a:gd name="connsiteX1" fmla="*/ 0 w 2361533"/>
                <a:gd name="connsiteY1" fmla="*/ 2045208 h 2833831"/>
                <a:gd name="connsiteX2" fmla="*/ 1180814 w 2361533"/>
                <a:gd name="connsiteY2" fmla="*/ 0 h 2833831"/>
                <a:gd name="connsiteX3" fmla="*/ 2361533 w 2361533"/>
                <a:gd name="connsiteY3" fmla="*/ 2045113 h 2833831"/>
                <a:gd name="connsiteX4" fmla="*/ 1287638 w 2361533"/>
                <a:gd name="connsiteY4" fmla="*/ 2833831 h 2833831"/>
                <a:gd name="connsiteX0" fmla="*/ 0 w 2361533"/>
                <a:gd name="connsiteY0" fmla="*/ 2045208 h 2833831"/>
                <a:gd name="connsiteX1" fmla="*/ 1180814 w 2361533"/>
                <a:gd name="connsiteY1" fmla="*/ 0 h 2833831"/>
                <a:gd name="connsiteX2" fmla="*/ 2361533 w 2361533"/>
                <a:gd name="connsiteY2" fmla="*/ 2045113 h 2833831"/>
                <a:gd name="connsiteX3" fmla="*/ 1287638 w 2361533"/>
                <a:gd name="connsiteY3" fmla="*/ 2833831 h 2833831"/>
                <a:gd name="connsiteX0" fmla="*/ 0 w 2361533"/>
                <a:gd name="connsiteY0" fmla="*/ 2045208 h 2045208"/>
                <a:gd name="connsiteX1" fmla="*/ 1180814 w 2361533"/>
                <a:gd name="connsiteY1" fmla="*/ 0 h 2045208"/>
                <a:gd name="connsiteX2" fmla="*/ 2361533 w 2361533"/>
                <a:gd name="connsiteY2" fmla="*/ 2045113 h 2045208"/>
              </a:gdLst>
              <a:ahLst/>
              <a:cxnLst>
                <a:cxn ang="0">
                  <a:pos x="connsiteX0" y="connsiteY0"/>
                </a:cxn>
                <a:cxn ang="0">
                  <a:pos x="connsiteX1" y="connsiteY1"/>
                </a:cxn>
                <a:cxn ang="0">
                  <a:pos x="connsiteX2" y="connsiteY2"/>
                </a:cxn>
              </a:cxnLst>
              <a:rect l="l" t="t" r="r" b="b"/>
              <a:pathLst>
                <a:path w="2361533" h="2045208">
                  <a:moveTo>
                    <a:pt x="0" y="2045208"/>
                  </a:moveTo>
                  <a:lnTo>
                    <a:pt x="1180814" y="0"/>
                  </a:lnTo>
                  <a:lnTo>
                    <a:pt x="2361533" y="2045113"/>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sp>
          <p:nvSpPr>
            <p:cNvPr id="24" name="Freihandform: Form 23">
              <a:extLst>
                <a:ext uri="{FF2B5EF4-FFF2-40B4-BE49-F238E27FC236}">
                  <a16:creationId xmlns:a16="http://schemas.microsoft.com/office/drawing/2014/main" id="{3EFF9703-6E65-4BAD-AB49-AAB9D38130AF}"/>
                </a:ext>
              </a:extLst>
            </p:cNvPr>
            <p:cNvSpPr/>
            <p:nvPr/>
          </p:nvSpPr>
          <p:spPr bwMode="gray">
            <a:xfrm>
              <a:off x="1863589" y="2114065"/>
              <a:ext cx="756609" cy="655262"/>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 name="connsiteX0" fmla="*/ 0 w 2361533"/>
                <a:gd name="connsiteY0" fmla="*/ 681704 h 2045208"/>
                <a:gd name="connsiteX1" fmla="*/ 1180814 w 2361533"/>
                <a:gd name="connsiteY1" fmla="*/ 0 h 2045208"/>
                <a:gd name="connsiteX2" fmla="*/ 2361534 w 2361533"/>
                <a:gd name="connsiteY2" fmla="*/ 2045208 h 2045208"/>
                <a:gd name="connsiteX3" fmla="*/ 0 w 2361533"/>
                <a:gd name="connsiteY3" fmla="*/ 2045208 h 2045208"/>
                <a:gd name="connsiteX4" fmla="*/ 106919 w 2361533"/>
                <a:gd name="connsiteY4" fmla="*/ 788623 h 2045208"/>
                <a:gd name="connsiteX0" fmla="*/ 0 w 2361534"/>
                <a:gd name="connsiteY0" fmla="*/ 681704 h 2045208"/>
                <a:gd name="connsiteX1" fmla="*/ 1180814 w 2361534"/>
                <a:gd name="connsiteY1" fmla="*/ 0 h 2045208"/>
                <a:gd name="connsiteX2" fmla="*/ 2361534 w 2361534"/>
                <a:gd name="connsiteY2" fmla="*/ 2045208 h 2045208"/>
                <a:gd name="connsiteX3" fmla="*/ 0 w 2361534"/>
                <a:gd name="connsiteY3" fmla="*/ 2045208 h 2045208"/>
                <a:gd name="connsiteX0" fmla="*/ 1180814 w 2361534"/>
                <a:gd name="connsiteY0" fmla="*/ 0 h 2045208"/>
                <a:gd name="connsiteX1" fmla="*/ 2361534 w 2361534"/>
                <a:gd name="connsiteY1" fmla="*/ 2045208 h 2045208"/>
                <a:gd name="connsiteX2" fmla="*/ 0 w 2361534"/>
                <a:gd name="connsiteY2" fmla="*/ 2045208 h 2045208"/>
              </a:gdLst>
              <a:ahLst/>
              <a:cxnLst>
                <a:cxn ang="0">
                  <a:pos x="connsiteX0" y="connsiteY0"/>
                </a:cxn>
                <a:cxn ang="0">
                  <a:pos x="connsiteX1" y="connsiteY1"/>
                </a:cxn>
                <a:cxn ang="0">
                  <a:pos x="connsiteX2" y="connsiteY2"/>
                </a:cxn>
              </a:cxnLst>
              <a:rect l="l" t="t" r="r" b="b"/>
              <a:pathLst>
                <a:path w="2361534" h="2045208">
                  <a:moveTo>
                    <a:pt x="1180814" y="0"/>
                  </a:moveTo>
                  <a:lnTo>
                    <a:pt x="2361534" y="2045208"/>
                  </a:lnTo>
                  <a:lnTo>
                    <a:pt x="0" y="2045208"/>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grpSp>
      <p:grpSp>
        <p:nvGrpSpPr>
          <p:cNvPr id="25" name="Gruppieren 24">
            <a:extLst>
              <a:ext uri="{FF2B5EF4-FFF2-40B4-BE49-F238E27FC236}">
                <a16:creationId xmlns:a16="http://schemas.microsoft.com/office/drawing/2014/main" id="{9AFDC66D-F557-4BBA-ACD5-0835A4962FD4}"/>
              </a:ext>
            </a:extLst>
          </p:cNvPr>
          <p:cNvGrpSpPr>
            <a:grpSpLocks/>
          </p:cNvGrpSpPr>
          <p:nvPr/>
        </p:nvGrpSpPr>
        <p:grpSpPr bwMode="gray">
          <a:xfrm>
            <a:off x="6150211" y="1489600"/>
            <a:ext cx="1548000" cy="1368000"/>
            <a:chOff x="1059160" y="1417422"/>
            <a:chExt cx="1561038" cy="1351905"/>
          </a:xfrm>
        </p:grpSpPr>
        <p:sp>
          <p:nvSpPr>
            <p:cNvPr id="26" name="Freihandform: Form 25">
              <a:extLst>
                <a:ext uri="{FF2B5EF4-FFF2-40B4-BE49-F238E27FC236}">
                  <a16:creationId xmlns:a16="http://schemas.microsoft.com/office/drawing/2014/main" id="{F2F465F8-35DD-4F2E-9F46-6BD6118A9E40}"/>
                </a:ext>
              </a:extLst>
            </p:cNvPr>
            <p:cNvSpPr>
              <a:spLocks/>
            </p:cNvSpPr>
            <p:nvPr/>
          </p:nvSpPr>
          <p:spPr bwMode="gray">
            <a:xfrm>
              <a:off x="1517411" y="1551380"/>
              <a:ext cx="641697" cy="743018"/>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Lst>
              <a:ahLst/>
              <a:cxnLst>
                <a:cxn ang="0">
                  <a:pos x="connsiteX0" y="connsiteY0"/>
                </a:cxn>
                <a:cxn ang="0">
                  <a:pos x="connsiteX1" y="connsiteY1"/>
                </a:cxn>
                <a:cxn ang="0">
                  <a:pos x="connsiteX2" y="connsiteY2"/>
                </a:cxn>
                <a:cxn ang="0">
                  <a:pos x="connsiteX3" y="connsiteY3"/>
                </a:cxn>
              </a:cxnLst>
              <a:rect l="l" t="t" r="r" b="b"/>
              <a:pathLst>
                <a:path w="2352675" h="2724150">
                  <a:moveTo>
                    <a:pt x="2361533" y="2045113"/>
                  </a:moveTo>
                  <a:lnTo>
                    <a:pt x="1180719" y="2726912"/>
                  </a:lnTo>
                  <a:lnTo>
                    <a:pt x="0" y="2045208"/>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80000" rtlCol="0" anchor="b" anchorCtr="0"/>
            <a:lstStyle/>
            <a:p>
              <a:pPr marL="0" marR="0" lvl="0" indent="0" algn="ctr" defTabSz="914400" rtl="0" eaLnBrk="1" fontAlgn="auto" latinLnBrk="0" hangingPunct="1">
                <a:lnSpc>
                  <a:spcPct val="110000"/>
                </a:lnSpc>
                <a:spcBef>
                  <a:spcPct val="0"/>
                </a:spcBef>
                <a:spcAft>
                  <a:spcPts val="0"/>
                </a:spcAft>
                <a:buClr>
                  <a:srgbClr val="009999"/>
                </a:buClr>
                <a:buSzTx/>
                <a:buFont typeface="Arial" pitchFamily="34" charset="0"/>
                <a:buNone/>
                <a:tabLst/>
                <a:defRPr/>
              </a:pPr>
              <a:r>
                <a:rPr kumimoji="0" lang="en-US" sz="800" b="1" i="0" strike="noStrike" kern="0" cap="none" spc="0" normalizeH="0" noProof="0">
                  <a:ln>
                    <a:noFill/>
                  </a:ln>
                  <a:solidFill>
                    <a:schemeClr val="tx1"/>
                  </a:solidFill>
                  <a:effectLst/>
                  <a:uLnTx/>
                  <a:uFillTx/>
                  <a:latin typeface="Arial"/>
                  <a:ea typeface="+mn-ea"/>
                  <a:cs typeface="Arial" pitchFamily="34" charset="0"/>
                </a:rPr>
                <a:t>eMBB</a:t>
              </a:r>
              <a:endParaRPr kumimoji="0" lang="en-US" sz="800" b="1" i="0" strike="noStrike" kern="0" cap="none" spc="0" normalizeH="0" noProof="0" dirty="0">
                <a:ln>
                  <a:noFill/>
                </a:ln>
                <a:solidFill>
                  <a:schemeClr val="tx1"/>
                </a:solidFill>
                <a:effectLst/>
                <a:uLnTx/>
                <a:uFillTx/>
                <a:latin typeface="Arial"/>
                <a:ea typeface="+mn-ea"/>
                <a:cs typeface="Arial" pitchFamily="34" charset="0"/>
              </a:endParaRPr>
            </a:p>
          </p:txBody>
        </p:sp>
        <p:sp>
          <p:nvSpPr>
            <p:cNvPr id="27" name="Freihandform: Form 26">
              <a:extLst>
                <a:ext uri="{FF2B5EF4-FFF2-40B4-BE49-F238E27FC236}">
                  <a16:creationId xmlns:a16="http://schemas.microsoft.com/office/drawing/2014/main" id="{87DB905A-C4E6-484A-A3D8-7138F2167CF4}"/>
                </a:ext>
              </a:extLst>
            </p:cNvPr>
            <p:cNvSpPr/>
            <p:nvPr/>
          </p:nvSpPr>
          <p:spPr bwMode="gray">
            <a:xfrm>
              <a:off x="1175000" y="2144469"/>
              <a:ext cx="641697" cy="568130"/>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3" y="681704"/>
                  </a:moveTo>
                  <a:lnTo>
                    <a:pt x="2361533" y="2045113"/>
                  </a:lnTo>
                  <a:lnTo>
                    <a:pt x="0" y="2045113"/>
                  </a:lnTo>
                  <a:lnTo>
                    <a:pt x="1180814" y="0"/>
                  </a:lnTo>
                  <a:close/>
                </a:path>
              </a:pathLst>
            </a:custGeom>
            <a:solidFill>
              <a:srgbClr val="333353">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latin typeface="Arial"/>
                  <a:cs typeface="Arial" pitchFamily="34" charset="0"/>
                </a:rPr>
                <a:t>mMTC</a:t>
              </a:r>
              <a:endParaRPr lang="en-US" sz="800" b="1" kern="0" dirty="0">
                <a:latin typeface="Arial"/>
                <a:cs typeface="Arial" pitchFamily="34" charset="0"/>
              </a:endParaRPr>
            </a:p>
          </p:txBody>
        </p:sp>
        <p:sp>
          <p:nvSpPr>
            <p:cNvPr id="28" name="Freihandform: Form 27">
              <a:extLst>
                <a:ext uri="{FF2B5EF4-FFF2-40B4-BE49-F238E27FC236}">
                  <a16:creationId xmlns:a16="http://schemas.microsoft.com/office/drawing/2014/main" id="{B51D2389-EA3C-4479-8DCC-9315ADA0E04C}"/>
                </a:ext>
              </a:extLst>
            </p:cNvPr>
            <p:cNvSpPr/>
            <p:nvPr/>
          </p:nvSpPr>
          <p:spPr bwMode="gray">
            <a:xfrm>
              <a:off x="1859824" y="2144443"/>
              <a:ext cx="662686" cy="568156"/>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4" y="2045208"/>
                  </a:moveTo>
                  <a:lnTo>
                    <a:pt x="0" y="2045208"/>
                  </a:lnTo>
                  <a:lnTo>
                    <a:pt x="0" y="681704"/>
                  </a:lnTo>
                  <a:lnTo>
                    <a:pt x="1180814" y="0"/>
                  </a:lnTo>
                  <a:close/>
                </a:path>
              </a:pathLst>
            </a:custGeom>
            <a:pattFill prst="narVert">
              <a:fgClr>
                <a:srgbClr val="333353"/>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solidFill>
                    <a:schemeClr val="tx1"/>
                  </a:solidFill>
                  <a:latin typeface="Arial"/>
                  <a:cs typeface="Arial" pitchFamily="34" charset="0"/>
                </a:rPr>
                <a:t>URLLC</a:t>
              </a:r>
              <a:endParaRPr lang="en-US" sz="800" b="1" kern="0" dirty="0">
                <a:solidFill>
                  <a:schemeClr val="tx1"/>
                </a:solidFill>
                <a:latin typeface="Arial"/>
                <a:cs typeface="Arial" pitchFamily="34" charset="0"/>
              </a:endParaRPr>
            </a:p>
          </p:txBody>
        </p:sp>
        <p:sp>
          <p:nvSpPr>
            <p:cNvPr id="29" name="TextBox 5">
              <a:extLst>
                <a:ext uri="{FF2B5EF4-FFF2-40B4-BE49-F238E27FC236}">
                  <a16:creationId xmlns:a16="http://schemas.microsoft.com/office/drawing/2014/main" id="{3D915C6F-9A9F-43DF-BA7F-BB9C41B4076A}"/>
                </a:ext>
              </a:extLst>
            </p:cNvPr>
            <p:cNvSpPr txBox="1">
              <a:spLocks noChangeArrowheads="1"/>
            </p:cNvSpPr>
            <p:nvPr>
              <p:custDataLst>
                <p:tags r:id="rId5"/>
              </p:custDataLst>
            </p:nvPr>
          </p:nvSpPr>
          <p:spPr bwMode="gray">
            <a:xfrm>
              <a:off x="1739747" y="2187032"/>
              <a:ext cx="216000" cy="216000"/>
            </a:xfrm>
            <a:prstGeom prst="ellipse">
              <a:avLst/>
            </a:prstGeom>
            <a:noFill/>
            <a:ln w="9525">
              <a:noFill/>
              <a:miter lim="800000"/>
              <a:headEnd/>
              <a:tailEnd/>
            </a:ln>
            <a:effectLst>
              <a:glow rad="88900">
                <a:schemeClr val="accent6">
                  <a:alpha val="83000"/>
                </a:schemeClr>
              </a:glow>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1100" b="1" i="0" strike="noStrike" kern="0" cap="none" spc="0" normalizeH="0" noProof="0">
                  <a:ln>
                    <a:noFill/>
                  </a:ln>
                  <a:solidFill>
                    <a:schemeClr val="dk2"/>
                  </a:solidFill>
                  <a:effectLst/>
                  <a:uLnTx/>
                  <a:uFillTx/>
                  <a:latin typeface="Arial" pitchFamily="34" charset="0"/>
                  <a:ea typeface="+mn-ea"/>
                  <a:cs typeface="Arial" pitchFamily="34" charset="0"/>
                </a:rPr>
                <a:t>5G</a:t>
              </a:r>
              <a:endParaRPr kumimoji="0" lang="en-US" sz="1100" b="1" i="0" strike="noStrike" kern="0" cap="none" spc="0" normalizeH="0" noProof="0" dirty="0">
                <a:ln>
                  <a:noFill/>
                </a:ln>
                <a:solidFill>
                  <a:schemeClr val="dk2"/>
                </a:solidFill>
                <a:effectLst/>
                <a:uLnTx/>
                <a:uFillTx/>
                <a:latin typeface="Arial" pitchFamily="34" charset="0"/>
                <a:ea typeface="+mn-ea"/>
                <a:cs typeface="Arial" pitchFamily="34" charset="0"/>
              </a:endParaRPr>
            </a:p>
          </p:txBody>
        </p:sp>
        <p:sp>
          <p:nvSpPr>
            <p:cNvPr id="30" name="Freihandform: Form 29">
              <a:extLst>
                <a:ext uri="{FF2B5EF4-FFF2-40B4-BE49-F238E27FC236}">
                  <a16:creationId xmlns:a16="http://schemas.microsoft.com/office/drawing/2014/main" id="{F2370DB8-9C1F-44BF-8860-C32017443E8F}"/>
                </a:ext>
              </a:extLst>
            </p:cNvPr>
            <p:cNvSpPr/>
            <p:nvPr/>
          </p:nvSpPr>
          <p:spPr bwMode="gray">
            <a:xfrm>
              <a:off x="1059160" y="2114095"/>
              <a:ext cx="756609" cy="655232"/>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 name="connsiteX0" fmla="*/ 2361533 w 2468452"/>
                <a:gd name="connsiteY0" fmla="*/ 681704 h 2045113"/>
                <a:gd name="connsiteX1" fmla="*/ 2361533 w 2468452"/>
                <a:gd name="connsiteY1" fmla="*/ 2045113 h 2045113"/>
                <a:gd name="connsiteX2" fmla="*/ 0 w 2468452"/>
                <a:gd name="connsiteY2" fmla="*/ 2045113 h 2045113"/>
                <a:gd name="connsiteX3" fmla="*/ 1180814 w 2468452"/>
                <a:gd name="connsiteY3" fmla="*/ 0 h 2045113"/>
                <a:gd name="connsiteX4" fmla="*/ 2468452 w 2468452"/>
                <a:gd name="connsiteY4" fmla="*/ 788623 h 2045113"/>
                <a:gd name="connsiteX0" fmla="*/ 2361533 w 2361533"/>
                <a:gd name="connsiteY0" fmla="*/ 681704 h 2045113"/>
                <a:gd name="connsiteX1" fmla="*/ 2361533 w 2361533"/>
                <a:gd name="connsiteY1" fmla="*/ 2045113 h 2045113"/>
                <a:gd name="connsiteX2" fmla="*/ 0 w 2361533"/>
                <a:gd name="connsiteY2" fmla="*/ 2045113 h 2045113"/>
                <a:gd name="connsiteX3" fmla="*/ 1180814 w 2361533"/>
                <a:gd name="connsiteY3" fmla="*/ 0 h 2045113"/>
                <a:gd name="connsiteX0" fmla="*/ 2361533 w 2361533"/>
                <a:gd name="connsiteY0" fmla="*/ 2045113 h 2045113"/>
                <a:gd name="connsiteX1" fmla="*/ 0 w 2361533"/>
                <a:gd name="connsiteY1" fmla="*/ 2045113 h 2045113"/>
                <a:gd name="connsiteX2" fmla="*/ 1180814 w 2361533"/>
                <a:gd name="connsiteY2" fmla="*/ 0 h 2045113"/>
              </a:gdLst>
              <a:ahLst/>
              <a:cxnLst>
                <a:cxn ang="0">
                  <a:pos x="connsiteX0" y="connsiteY0"/>
                </a:cxn>
                <a:cxn ang="0">
                  <a:pos x="connsiteX1" y="connsiteY1"/>
                </a:cxn>
                <a:cxn ang="0">
                  <a:pos x="connsiteX2" y="connsiteY2"/>
                </a:cxn>
              </a:cxnLst>
              <a:rect l="l" t="t" r="r" b="b"/>
              <a:pathLst>
                <a:path w="2361533" h="2045113">
                  <a:moveTo>
                    <a:pt x="2361533" y="2045113"/>
                  </a:moveTo>
                  <a:lnTo>
                    <a:pt x="0" y="2045113"/>
                  </a:lnTo>
                  <a:lnTo>
                    <a:pt x="1180814" y="0"/>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i="0" strike="noStrike" kern="0" cap="none" spc="0" normalizeH="0" noProof="0" dirty="0">
                <a:ln>
                  <a:noFill/>
                </a:ln>
                <a:solidFill>
                  <a:prstClr val="white"/>
                </a:solidFill>
                <a:effectLst/>
                <a:uLnTx/>
                <a:uFillTx/>
              </a:endParaRPr>
            </a:p>
          </p:txBody>
        </p:sp>
        <p:sp>
          <p:nvSpPr>
            <p:cNvPr id="31" name="Freihandform: Form 30">
              <a:extLst>
                <a:ext uri="{FF2B5EF4-FFF2-40B4-BE49-F238E27FC236}">
                  <a16:creationId xmlns:a16="http://schemas.microsoft.com/office/drawing/2014/main" id="{EECF3ABD-422A-4D7A-8638-7928B767AEE6}"/>
                </a:ext>
              </a:extLst>
            </p:cNvPr>
            <p:cNvSpPr/>
            <p:nvPr/>
          </p:nvSpPr>
          <p:spPr bwMode="gray">
            <a:xfrm>
              <a:off x="1461374" y="1417422"/>
              <a:ext cx="756609" cy="655262"/>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 name="connsiteX0" fmla="*/ 1180719 w 2361533"/>
                <a:gd name="connsiteY0" fmla="*/ 2726912 h 2833831"/>
                <a:gd name="connsiteX1" fmla="*/ 0 w 2361533"/>
                <a:gd name="connsiteY1" fmla="*/ 2045208 h 2833831"/>
                <a:gd name="connsiteX2" fmla="*/ 1180814 w 2361533"/>
                <a:gd name="connsiteY2" fmla="*/ 0 h 2833831"/>
                <a:gd name="connsiteX3" fmla="*/ 2361533 w 2361533"/>
                <a:gd name="connsiteY3" fmla="*/ 2045113 h 2833831"/>
                <a:gd name="connsiteX4" fmla="*/ 1287638 w 2361533"/>
                <a:gd name="connsiteY4" fmla="*/ 2833831 h 2833831"/>
                <a:gd name="connsiteX0" fmla="*/ 0 w 2361533"/>
                <a:gd name="connsiteY0" fmla="*/ 2045208 h 2833831"/>
                <a:gd name="connsiteX1" fmla="*/ 1180814 w 2361533"/>
                <a:gd name="connsiteY1" fmla="*/ 0 h 2833831"/>
                <a:gd name="connsiteX2" fmla="*/ 2361533 w 2361533"/>
                <a:gd name="connsiteY2" fmla="*/ 2045113 h 2833831"/>
                <a:gd name="connsiteX3" fmla="*/ 1287638 w 2361533"/>
                <a:gd name="connsiteY3" fmla="*/ 2833831 h 2833831"/>
                <a:gd name="connsiteX0" fmla="*/ 0 w 2361533"/>
                <a:gd name="connsiteY0" fmla="*/ 2045208 h 2045208"/>
                <a:gd name="connsiteX1" fmla="*/ 1180814 w 2361533"/>
                <a:gd name="connsiteY1" fmla="*/ 0 h 2045208"/>
                <a:gd name="connsiteX2" fmla="*/ 2361533 w 2361533"/>
                <a:gd name="connsiteY2" fmla="*/ 2045113 h 2045208"/>
              </a:gdLst>
              <a:ahLst/>
              <a:cxnLst>
                <a:cxn ang="0">
                  <a:pos x="connsiteX0" y="connsiteY0"/>
                </a:cxn>
                <a:cxn ang="0">
                  <a:pos x="connsiteX1" y="connsiteY1"/>
                </a:cxn>
                <a:cxn ang="0">
                  <a:pos x="connsiteX2" y="connsiteY2"/>
                </a:cxn>
              </a:cxnLst>
              <a:rect l="l" t="t" r="r" b="b"/>
              <a:pathLst>
                <a:path w="2361533" h="2045208">
                  <a:moveTo>
                    <a:pt x="0" y="2045208"/>
                  </a:moveTo>
                  <a:lnTo>
                    <a:pt x="1180814" y="0"/>
                  </a:lnTo>
                  <a:lnTo>
                    <a:pt x="2361533" y="2045113"/>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sp>
          <p:nvSpPr>
            <p:cNvPr id="32" name="Freihandform: Form 31">
              <a:extLst>
                <a:ext uri="{FF2B5EF4-FFF2-40B4-BE49-F238E27FC236}">
                  <a16:creationId xmlns:a16="http://schemas.microsoft.com/office/drawing/2014/main" id="{709319E7-4394-447D-A572-2CFF574A9855}"/>
                </a:ext>
              </a:extLst>
            </p:cNvPr>
            <p:cNvSpPr/>
            <p:nvPr/>
          </p:nvSpPr>
          <p:spPr bwMode="gray">
            <a:xfrm>
              <a:off x="1863589" y="2114065"/>
              <a:ext cx="756609" cy="655262"/>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 name="connsiteX0" fmla="*/ 0 w 2361533"/>
                <a:gd name="connsiteY0" fmla="*/ 681704 h 2045208"/>
                <a:gd name="connsiteX1" fmla="*/ 1180814 w 2361533"/>
                <a:gd name="connsiteY1" fmla="*/ 0 h 2045208"/>
                <a:gd name="connsiteX2" fmla="*/ 2361534 w 2361533"/>
                <a:gd name="connsiteY2" fmla="*/ 2045208 h 2045208"/>
                <a:gd name="connsiteX3" fmla="*/ 0 w 2361533"/>
                <a:gd name="connsiteY3" fmla="*/ 2045208 h 2045208"/>
                <a:gd name="connsiteX4" fmla="*/ 106919 w 2361533"/>
                <a:gd name="connsiteY4" fmla="*/ 788623 h 2045208"/>
                <a:gd name="connsiteX0" fmla="*/ 0 w 2361534"/>
                <a:gd name="connsiteY0" fmla="*/ 681704 h 2045208"/>
                <a:gd name="connsiteX1" fmla="*/ 1180814 w 2361534"/>
                <a:gd name="connsiteY1" fmla="*/ 0 h 2045208"/>
                <a:gd name="connsiteX2" fmla="*/ 2361534 w 2361534"/>
                <a:gd name="connsiteY2" fmla="*/ 2045208 h 2045208"/>
                <a:gd name="connsiteX3" fmla="*/ 0 w 2361534"/>
                <a:gd name="connsiteY3" fmla="*/ 2045208 h 2045208"/>
                <a:gd name="connsiteX0" fmla="*/ 1180814 w 2361534"/>
                <a:gd name="connsiteY0" fmla="*/ 0 h 2045208"/>
                <a:gd name="connsiteX1" fmla="*/ 2361534 w 2361534"/>
                <a:gd name="connsiteY1" fmla="*/ 2045208 h 2045208"/>
                <a:gd name="connsiteX2" fmla="*/ 0 w 2361534"/>
                <a:gd name="connsiteY2" fmla="*/ 2045208 h 2045208"/>
              </a:gdLst>
              <a:ahLst/>
              <a:cxnLst>
                <a:cxn ang="0">
                  <a:pos x="connsiteX0" y="connsiteY0"/>
                </a:cxn>
                <a:cxn ang="0">
                  <a:pos x="connsiteX1" y="connsiteY1"/>
                </a:cxn>
                <a:cxn ang="0">
                  <a:pos x="connsiteX2" y="connsiteY2"/>
                </a:cxn>
              </a:cxnLst>
              <a:rect l="l" t="t" r="r" b="b"/>
              <a:pathLst>
                <a:path w="2361534" h="2045208">
                  <a:moveTo>
                    <a:pt x="1180814" y="0"/>
                  </a:moveTo>
                  <a:lnTo>
                    <a:pt x="2361534" y="2045208"/>
                  </a:lnTo>
                  <a:lnTo>
                    <a:pt x="0" y="2045208"/>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grpSp>
      <p:grpSp>
        <p:nvGrpSpPr>
          <p:cNvPr id="33" name="Gruppieren 32">
            <a:extLst>
              <a:ext uri="{FF2B5EF4-FFF2-40B4-BE49-F238E27FC236}">
                <a16:creationId xmlns:a16="http://schemas.microsoft.com/office/drawing/2014/main" id="{0E513085-BB76-4BFD-B5F4-1C54DC98F26E}"/>
              </a:ext>
            </a:extLst>
          </p:cNvPr>
          <p:cNvGrpSpPr>
            <a:grpSpLocks/>
          </p:cNvGrpSpPr>
          <p:nvPr/>
        </p:nvGrpSpPr>
        <p:grpSpPr bwMode="gray">
          <a:xfrm>
            <a:off x="8097946" y="1489600"/>
            <a:ext cx="1548000" cy="1368000"/>
            <a:chOff x="1059160" y="1417422"/>
            <a:chExt cx="1561038" cy="1351905"/>
          </a:xfrm>
        </p:grpSpPr>
        <p:sp>
          <p:nvSpPr>
            <p:cNvPr id="34" name="Freihandform: Form 33">
              <a:extLst>
                <a:ext uri="{FF2B5EF4-FFF2-40B4-BE49-F238E27FC236}">
                  <a16:creationId xmlns:a16="http://schemas.microsoft.com/office/drawing/2014/main" id="{4FA294E4-C5C5-4C96-9A9E-DC63D0E80091}"/>
                </a:ext>
              </a:extLst>
            </p:cNvPr>
            <p:cNvSpPr>
              <a:spLocks/>
            </p:cNvSpPr>
            <p:nvPr/>
          </p:nvSpPr>
          <p:spPr bwMode="gray">
            <a:xfrm>
              <a:off x="1517411" y="1551380"/>
              <a:ext cx="641697" cy="743018"/>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Lst>
              <a:ahLst/>
              <a:cxnLst>
                <a:cxn ang="0">
                  <a:pos x="connsiteX0" y="connsiteY0"/>
                </a:cxn>
                <a:cxn ang="0">
                  <a:pos x="connsiteX1" y="connsiteY1"/>
                </a:cxn>
                <a:cxn ang="0">
                  <a:pos x="connsiteX2" y="connsiteY2"/>
                </a:cxn>
                <a:cxn ang="0">
                  <a:pos x="connsiteX3" y="connsiteY3"/>
                </a:cxn>
              </a:cxnLst>
              <a:rect l="l" t="t" r="r" b="b"/>
              <a:pathLst>
                <a:path w="2352675" h="2724150">
                  <a:moveTo>
                    <a:pt x="2361533" y="2045113"/>
                  </a:moveTo>
                  <a:lnTo>
                    <a:pt x="1180719" y="2726912"/>
                  </a:lnTo>
                  <a:lnTo>
                    <a:pt x="0" y="2045208"/>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80000" rtlCol="0" anchor="b" anchorCtr="0"/>
            <a:lstStyle/>
            <a:p>
              <a:pPr marL="0" marR="0" lvl="0" indent="0" algn="ctr" defTabSz="914400" rtl="0" eaLnBrk="1" fontAlgn="auto" latinLnBrk="0" hangingPunct="1">
                <a:lnSpc>
                  <a:spcPct val="110000"/>
                </a:lnSpc>
                <a:spcBef>
                  <a:spcPct val="0"/>
                </a:spcBef>
                <a:spcAft>
                  <a:spcPts val="0"/>
                </a:spcAft>
                <a:buClr>
                  <a:srgbClr val="009999"/>
                </a:buClr>
                <a:buSzTx/>
                <a:buFont typeface="Arial" pitchFamily="34" charset="0"/>
                <a:buNone/>
                <a:tabLst/>
                <a:defRPr/>
              </a:pPr>
              <a:r>
                <a:rPr kumimoji="0" lang="en-US" sz="800" b="1" i="0" strike="noStrike" kern="0" cap="none" spc="0" normalizeH="0" noProof="0">
                  <a:ln>
                    <a:noFill/>
                  </a:ln>
                  <a:solidFill>
                    <a:schemeClr val="tx1"/>
                  </a:solidFill>
                  <a:effectLst/>
                  <a:uLnTx/>
                  <a:uFillTx/>
                  <a:latin typeface="Arial"/>
                  <a:ea typeface="+mn-ea"/>
                  <a:cs typeface="Arial" pitchFamily="34" charset="0"/>
                </a:rPr>
                <a:t>eMBB</a:t>
              </a:r>
              <a:endParaRPr kumimoji="0" lang="en-US" sz="800" b="1" i="0" strike="noStrike" kern="0" cap="none" spc="0" normalizeH="0" noProof="0" dirty="0">
                <a:ln>
                  <a:noFill/>
                </a:ln>
                <a:solidFill>
                  <a:schemeClr val="tx1"/>
                </a:solidFill>
                <a:effectLst/>
                <a:uLnTx/>
                <a:uFillTx/>
                <a:latin typeface="Arial"/>
                <a:ea typeface="+mn-ea"/>
                <a:cs typeface="Arial" pitchFamily="34" charset="0"/>
              </a:endParaRPr>
            </a:p>
          </p:txBody>
        </p:sp>
        <p:sp>
          <p:nvSpPr>
            <p:cNvPr id="35" name="Freihandform: Form 34">
              <a:extLst>
                <a:ext uri="{FF2B5EF4-FFF2-40B4-BE49-F238E27FC236}">
                  <a16:creationId xmlns:a16="http://schemas.microsoft.com/office/drawing/2014/main" id="{DDFD689C-FB71-4259-BF48-05CE0E4B36CE}"/>
                </a:ext>
              </a:extLst>
            </p:cNvPr>
            <p:cNvSpPr/>
            <p:nvPr/>
          </p:nvSpPr>
          <p:spPr bwMode="gray">
            <a:xfrm>
              <a:off x="1175000" y="2144469"/>
              <a:ext cx="641697" cy="568130"/>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3" y="681704"/>
                  </a:moveTo>
                  <a:lnTo>
                    <a:pt x="2361533" y="2045113"/>
                  </a:lnTo>
                  <a:lnTo>
                    <a:pt x="0" y="2045113"/>
                  </a:lnTo>
                  <a:lnTo>
                    <a:pt x="1180814" y="0"/>
                  </a:lnTo>
                  <a:close/>
                </a:path>
              </a:pathLst>
            </a:custGeom>
            <a:pattFill prst="narVert">
              <a:fgClr>
                <a:srgbClr val="333353"/>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solidFill>
                    <a:schemeClr val="tx1"/>
                  </a:solidFill>
                  <a:latin typeface="Arial"/>
                  <a:cs typeface="Arial" pitchFamily="34" charset="0"/>
                </a:rPr>
                <a:t>mMTC</a:t>
              </a:r>
              <a:endParaRPr lang="en-US" sz="800" b="1" kern="0" dirty="0">
                <a:solidFill>
                  <a:schemeClr val="tx1"/>
                </a:solidFill>
                <a:latin typeface="Arial"/>
                <a:cs typeface="Arial" pitchFamily="34" charset="0"/>
              </a:endParaRPr>
            </a:p>
          </p:txBody>
        </p:sp>
        <p:sp>
          <p:nvSpPr>
            <p:cNvPr id="36" name="Freihandform: Form 35">
              <a:extLst>
                <a:ext uri="{FF2B5EF4-FFF2-40B4-BE49-F238E27FC236}">
                  <a16:creationId xmlns:a16="http://schemas.microsoft.com/office/drawing/2014/main" id="{CE0F0F15-2763-4E87-B38D-CFDB0BC72A12}"/>
                </a:ext>
              </a:extLst>
            </p:cNvPr>
            <p:cNvSpPr/>
            <p:nvPr/>
          </p:nvSpPr>
          <p:spPr bwMode="gray">
            <a:xfrm>
              <a:off x="1859824" y="2144443"/>
              <a:ext cx="662686" cy="568156"/>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4" y="2045208"/>
                  </a:moveTo>
                  <a:lnTo>
                    <a:pt x="0" y="2045208"/>
                  </a:lnTo>
                  <a:lnTo>
                    <a:pt x="0" y="681704"/>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solidFill>
                    <a:schemeClr val="tx1"/>
                  </a:solidFill>
                  <a:latin typeface="Arial"/>
                  <a:cs typeface="Arial" pitchFamily="34" charset="0"/>
                </a:rPr>
                <a:t>URLLC</a:t>
              </a:r>
              <a:endParaRPr lang="en-US" sz="800" b="1" kern="0" dirty="0">
                <a:solidFill>
                  <a:schemeClr val="tx1"/>
                </a:solidFill>
                <a:latin typeface="Arial"/>
                <a:cs typeface="Arial" pitchFamily="34" charset="0"/>
              </a:endParaRPr>
            </a:p>
          </p:txBody>
        </p:sp>
        <p:sp>
          <p:nvSpPr>
            <p:cNvPr id="37" name="TextBox 5">
              <a:extLst>
                <a:ext uri="{FF2B5EF4-FFF2-40B4-BE49-F238E27FC236}">
                  <a16:creationId xmlns:a16="http://schemas.microsoft.com/office/drawing/2014/main" id="{A0F3E3E0-A81E-4FD1-80D1-25B8A6BE94D7}"/>
                </a:ext>
              </a:extLst>
            </p:cNvPr>
            <p:cNvSpPr txBox="1">
              <a:spLocks noChangeArrowheads="1"/>
            </p:cNvSpPr>
            <p:nvPr>
              <p:custDataLst>
                <p:tags r:id="rId4"/>
              </p:custDataLst>
            </p:nvPr>
          </p:nvSpPr>
          <p:spPr bwMode="gray">
            <a:xfrm>
              <a:off x="1739747" y="2187032"/>
              <a:ext cx="216000" cy="216000"/>
            </a:xfrm>
            <a:prstGeom prst="ellipse">
              <a:avLst/>
            </a:prstGeom>
            <a:noFill/>
            <a:ln w="9525">
              <a:noFill/>
              <a:miter lim="800000"/>
              <a:headEnd/>
              <a:tailEnd/>
            </a:ln>
            <a:effectLst>
              <a:glow rad="88900">
                <a:schemeClr val="accent6">
                  <a:alpha val="83000"/>
                </a:schemeClr>
              </a:glow>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1100" b="1" i="0" strike="noStrike" kern="0" cap="none" spc="0" normalizeH="0" noProof="0">
                  <a:ln>
                    <a:noFill/>
                  </a:ln>
                  <a:solidFill>
                    <a:schemeClr val="dk2"/>
                  </a:solidFill>
                  <a:effectLst/>
                  <a:uLnTx/>
                  <a:uFillTx/>
                  <a:latin typeface="Arial" pitchFamily="34" charset="0"/>
                  <a:ea typeface="+mn-ea"/>
                  <a:cs typeface="Arial" pitchFamily="34" charset="0"/>
                </a:rPr>
                <a:t>5G</a:t>
              </a:r>
              <a:endParaRPr kumimoji="0" lang="en-US" sz="1100" b="1" i="0" strike="noStrike" kern="0" cap="none" spc="0" normalizeH="0" noProof="0" dirty="0">
                <a:ln>
                  <a:noFill/>
                </a:ln>
                <a:solidFill>
                  <a:schemeClr val="dk2"/>
                </a:solidFill>
                <a:effectLst/>
                <a:uLnTx/>
                <a:uFillTx/>
                <a:latin typeface="Arial" pitchFamily="34" charset="0"/>
                <a:ea typeface="+mn-ea"/>
                <a:cs typeface="Arial" pitchFamily="34" charset="0"/>
              </a:endParaRPr>
            </a:p>
          </p:txBody>
        </p:sp>
        <p:sp>
          <p:nvSpPr>
            <p:cNvPr id="38" name="Freihandform: Form 37">
              <a:extLst>
                <a:ext uri="{FF2B5EF4-FFF2-40B4-BE49-F238E27FC236}">
                  <a16:creationId xmlns:a16="http://schemas.microsoft.com/office/drawing/2014/main" id="{0EDDEAC6-7EB9-431D-AF58-C65AF2AA8FE0}"/>
                </a:ext>
              </a:extLst>
            </p:cNvPr>
            <p:cNvSpPr/>
            <p:nvPr/>
          </p:nvSpPr>
          <p:spPr bwMode="gray">
            <a:xfrm>
              <a:off x="1059160" y="2114095"/>
              <a:ext cx="756609" cy="655232"/>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 name="connsiteX0" fmla="*/ 2361533 w 2468452"/>
                <a:gd name="connsiteY0" fmla="*/ 681704 h 2045113"/>
                <a:gd name="connsiteX1" fmla="*/ 2361533 w 2468452"/>
                <a:gd name="connsiteY1" fmla="*/ 2045113 h 2045113"/>
                <a:gd name="connsiteX2" fmla="*/ 0 w 2468452"/>
                <a:gd name="connsiteY2" fmla="*/ 2045113 h 2045113"/>
                <a:gd name="connsiteX3" fmla="*/ 1180814 w 2468452"/>
                <a:gd name="connsiteY3" fmla="*/ 0 h 2045113"/>
                <a:gd name="connsiteX4" fmla="*/ 2468452 w 2468452"/>
                <a:gd name="connsiteY4" fmla="*/ 788623 h 2045113"/>
                <a:gd name="connsiteX0" fmla="*/ 2361533 w 2361533"/>
                <a:gd name="connsiteY0" fmla="*/ 681704 h 2045113"/>
                <a:gd name="connsiteX1" fmla="*/ 2361533 w 2361533"/>
                <a:gd name="connsiteY1" fmla="*/ 2045113 h 2045113"/>
                <a:gd name="connsiteX2" fmla="*/ 0 w 2361533"/>
                <a:gd name="connsiteY2" fmla="*/ 2045113 h 2045113"/>
                <a:gd name="connsiteX3" fmla="*/ 1180814 w 2361533"/>
                <a:gd name="connsiteY3" fmla="*/ 0 h 2045113"/>
                <a:gd name="connsiteX0" fmla="*/ 2361533 w 2361533"/>
                <a:gd name="connsiteY0" fmla="*/ 2045113 h 2045113"/>
                <a:gd name="connsiteX1" fmla="*/ 0 w 2361533"/>
                <a:gd name="connsiteY1" fmla="*/ 2045113 h 2045113"/>
                <a:gd name="connsiteX2" fmla="*/ 1180814 w 2361533"/>
                <a:gd name="connsiteY2" fmla="*/ 0 h 2045113"/>
              </a:gdLst>
              <a:ahLst/>
              <a:cxnLst>
                <a:cxn ang="0">
                  <a:pos x="connsiteX0" y="connsiteY0"/>
                </a:cxn>
                <a:cxn ang="0">
                  <a:pos x="connsiteX1" y="connsiteY1"/>
                </a:cxn>
                <a:cxn ang="0">
                  <a:pos x="connsiteX2" y="connsiteY2"/>
                </a:cxn>
              </a:cxnLst>
              <a:rect l="l" t="t" r="r" b="b"/>
              <a:pathLst>
                <a:path w="2361533" h="2045113">
                  <a:moveTo>
                    <a:pt x="2361533" y="2045113"/>
                  </a:moveTo>
                  <a:lnTo>
                    <a:pt x="0" y="2045113"/>
                  </a:lnTo>
                  <a:lnTo>
                    <a:pt x="1180814" y="0"/>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i="0" strike="noStrike" kern="0" cap="none" spc="0" normalizeH="0" noProof="0" dirty="0">
                <a:ln>
                  <a:noFill/>
                </a:ln>
                <a:solidFill>
                  <a:prstClr val="white"/>
                </a:solidFill>
                <a:effectLst/>
                <a:uLnTx/>
                <a:uFillTx/>
              </a:endParaRPr>
            </a:p>
          </p:txBody>
        </p:sp>
        <p:sp>
          <p:nvSpPr>
            <p:cNvPr id="39" name="Freihandform: Form 38">
              <a:extLst>
                <a:ext uri="{FF2B5EF4-FFF2-40B4-BE49-F238E27FC236}">
                  <a16:creationId xmlns:a16="http://schemas.microsoft.com/office/drawing/2014/main" id="{03F0B54B-BB8D-4D0A-AAED-01D7D5D9099A}"/>
                </a:ext>
              </a:extLst>
            </p:cNvPr>
            <p:cNvSpPr/>
            <p:nvPr/>
          </p:nvSpPr>
          <p:spPr bwMode="gray">
            <a:xfrm>
              <a:off x="1461374" y="1417422"/>
              <a:ext cx="756609" cy="655262"/>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 name="connsiteX0" fmla="*/ 1180719 w 2361533"/>
                <a:gd name="connsiteY0" fmla="*/ 2726912 h 2833831"/>
                <a:gd name="connsiteX1" fmla="*/ 0 w 2361533"/>
                <a:gd name="connsiteY1" fmla="*/ 2045208 h 2833831"/>
                <a:gd name="connsiteX2" fmla="*/ 1180814 w 2361533"/>
                <a:gd name="connsiteY2" fmla="*/ 0 h 2833831"/>
                <a:gd name="connsiteX3" fmla="*/ 2361533 w 2361533"/>
                <a:gd name="connsiteY3" fmla="*/ 2045113 h 2833831"/>
                <a:gd name="connsiteX4" fmla="*/ 1287638 w 2361533"/>
                <a:gd name="connsiteY4" fmla="*/ 2833831 h 2833831"/>
                <a:gd name="connsiteX0" fmla="*/ 0 w 2361533"/>
                <a:gd name="connsiteY0" fmla="*/ 2045208 h 2833831"/>
                <a:gd name="connsiteX1" fmla="*/ 1180814 w 2361533"/>
                <a:gd name="connsiteY1" fmla="*/ 0 h 2833831"/>
                <a:gd name="connsiteX2" fmla="*/ 2361533 w 2361533"/>
                <a:gd name="connsiteY2" fmla="*/ 2045113 h 2833831"/>
                <a:gd name="connsiteX3" fmla="*/ 1287638 w 2361533"/>
                <a:gd name="connsiteY3" fmla="*/ 2833831 h 2833831"/>
                <a:gd name="connsiteX0" fmla="*/ 0 w 2361533"/>
                <a:gd name="connsiteY0" fmla="*/ 2045208 h 2045208"/>
                <a:gd name="connsiteX1" fmla="*/ 1180814 w 2361533"/>
                <a:gd name="connsiteY1" fmla="*/ 0 h 2045208"/>
                <a:gd name="connsiteX2" fmla="*/ 2361533 w 2361533"/>
                <a:gd name="connsiteY2" fmla="*/ 2045113 h 2045208"/>
              </a:gdLst>
              <a:ahLst/>
              <a:cxnLst>
                <a:cxn ang="0">
                  <a:pos x="connsiteX0" y="connsiteY0"/>
                </a:cxn>
                <a:cxn ang="0">
                  <a:pos x="connsiteX1" y="connsiteY1"/>
                </a:cxn>
                <a:cxn ang="0">
                  <a:pos x="connsiteX2" y="connsiteY2"/>
                </a:cxn>
              </a:cxnLst>
              <a:rect l="l" t="t" r="r" b="b"/>
              <a:pathLst>
                <a:path w="2361533" h="2045208">
                  <a:moveTo>
                    <a:pt x="0" y="2045208"/>
                  </a:moveTo>
                  <a:lnTo>
                    <a:pt x="1180814" y="0"/>
                  </a:lnTo>
                  <a:lnTo>
                    <a:pt x="2361533" y="2045113"/>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sp>
          <p:nvSpPr>
            <p:cNvPr id="40" name="Freihandform: Form 39">
              <a:extLst>
                <a:ext uri="{FF2B5EF4-FFF2-40B4-BE49-F238E27FC236}">
                  <a16:creationId xmlns:a16="http://schemas.microsoft.com/office/drawing/2014/main" id="{C5FDBFE3-95AD-47C0-884C-3C39EC1F7C24}"/>
                </a:ext>
              </a:extLst>
            </p:cNvPr>
            <p:cNvSpPr/>
            <p:nvPr/>
          </p:nvSpPr>
          <p:spPr bwMode="gray">
            <a:xfrm>
              <a:off x="1863589" y="2114065"/>
              <a:ext cx="756609" cy="655262"/>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 name="connsiteX0" fmla="*/ 0 w 2361533"/>
                <a:gd name="connsiteY0" fmla="*/ 681704 h 2045208"/>
                <a:gd name="connsiteX1" fmla="*/ 1180814 w 2361533"/>
                <a:gd name="connsiteY1" fmla="*/ 0 h 2045208"/>
                <a:gd name="connsiteX2" fmla="*/ 2361534 w 2361533"/>
                <a:gd name="connsiteY2" fmla="*/ 2045208 h 2045208"/>
                <a:gd name="connsiteX3" fmla="*/ 0 w 2361533"/>
                <a:gd name="connsiteY3" fmla="*/ 2045208 h 2045208"/>
                <a:gd name="connsiteX4" fmla="*/ 106919 w 2361533"/>
                <a:gd name="connsiteY4" fmla="*/ 788623 h 2045208"/>
                <a:gd name="connsiteX0" fmla="*/ 0 w 2361534"/>
                <a:gd name="connsiteY0" fmla="*/ 681704 h 2045208"/>
                <a:gd name="connsiteX1" fmla="*/ 1180814 w 2361534"/>
                <a:gd name="connsiteY1" fmla="*/ 0 h 2045208"/>
                <a:gd name="connsiteX2" fmla="*/ 2361534 w 2361534"/>
                <a:gd name="connsiteY2" fmla="*/ 2045208 h 2045208"/>
                <a:gd name="connsiteX3" fmla="*/ 0 w 2361534"/>
                <a:gd name="connsiteY3" fmla="*/ 2045208 h 2045208"/>
                <a:gd name="connsiteX0" fmla="*/ 1180814 w 2361534"/>
                <a:gd name="connsiteY0" fmla="*/ 0 h 2045208"/>
                <a:gd name="connsiteX1" fmla="*/ 2361534 w 2361534"/>
                <a:gd name="connsiteY1" fmla="*/ 2045208 h 2045208"/>
                <a:gd name="connsiteX2" fmla="*/ 0 w 2361534"/>
                <a:gd name="connsiteY2" fmla="*/ 2045208 h 2045208"/>
              </a:gdLst>
              <a:ahLst/>
              <a:cxnLst>
                <a:cxn ang="0">
                  <a:pos x="connsiteX0" y="connsiteY0"/>
                </a:cxn>
                <a:cxn ang="0">
                  <a:pos x="connsiteX1" y="connsiteY1"/>
                </a:cxn>
                <a:cxn ang="0">
                  <a:pos x="connsiteX2" y="connsiteY2"/>
                </a:cxn>
              </a:cxnLst>
              <a:rect l="l" t="t" r="r" b="b"/>
              <a:pathLst>
                <a:path w="2361534" h="2045208">
                  <a:moveTo>
                    <a:pt x="1180814" y="0"/>
                  </a:moveTo>
                  <a:lnTo>
                    <a:pt x="2361534" y="2045208"/>
                  </a:lnTo>
                  <a:lnTo>
                    <a:pt x="0" y="2045208"/>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grpSp>
      <p:grpSp>
        <p:nvGrpSpPr>
          <p:cNvPr id="41" name="Gruppieren 40">
            <a:extLst>
              <a:ext uri="{FF2B5EF4-FFF2-40B4-BE49-F238E27FC236}">
                <a16:creationId xmlns:a16="http://schemas.microsoft.com/office/drawing/2014/main" id="{3EC7A6B5-BA03-4242-B46F-5D07A3DCCDD6}"/>
              </a:ext>
            </a:extLst>
          </p:cNvPr>
          <p:cNvGrpSpPr>
            <a:grpSpLocks/>
          </p:cNvGrpSpPr>
          <p:nvPr/>
        </p:nvGrpSpPr>
        <p:grpSpPr bwMode="gray">
          <a:xfrm>
            <a:off x="10045682" y="1489600"/>
            <a:ext cx="1548000" cy="1368000"/>
            <a:chOff x="1059160" y="1417422"/>
            <a:chExt cx="1561038" cy="1351905"/>
          </a:xfrm>
        </p:grpSpPr>
        <p:sp>
          <p:nvSpPr>
            <p:cNvPr id="42" name="Freihandform: Form 41">
              <a:extLst>
                <a:ext uri="{FF2B5EF4-FFF2-40B4-BE49-F238E27FC236}">
                  <a16:creationId xmlns:a16="http://schemas.microsoft.com/office/drawing/2014/main" id="{2F2F4708-1CE8-4E3C-B10E-E1292AB20540}"/>
                </a:ext>
              </a:extLst>
            </p:cNvPr>
            <p:cNvSpPr>
              <a:spLocks/>
            </p:cNvSpPr>
            <p:nvPr/>
          </p:nvSpPr>
          <p:spPr bwMode="gray">
            <a:xfrm>
              <a:off x="1517411" y="1551380"/>
              <a:ext cx="641697" cy="743018"/>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Lst>
              <a:ahLst/>
              <a:cxnLst>
                <a:cxn ang="0">
                  <a:pos x="connsiteX0" y="connsiteY0"/>
                </a:cxn>
                <a:cxn ang="0">
                  <a:pos x="connsiteX1" y="connsiteY1"/>
                </a:cxn>
                <a:cxn ang="0">
                  <a:pos x="connsiteX2" y="connsiteY2"/>
                </a:cxn>
                <a:cxn ang="0">
                  <a:pos x="connsiteX3" y="connsiteY3"/>
                </a:cxn>
              </a:cxnLst>
              <a:rect l="l" t="t" r="r" b="b"/>
              <a:pathLst>
                <a:path w="2352675" h="2724150">
                  <a:moveTo>
                    <a:pt x="2361533" y="2045113"/>
                  </a:moveTo>
                  <a:lnTo>
                    <a:pt x="1180719" y="2726912"/>
                  </a:lnTo>
                  <a:lnTo>
                    <a:pt x="0" y="2045208"/>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80000" rtlCol="0" anchor="b" anchorCtr="0"/>
            <a:lstStyle/>
            <a:p>
              <a:pPr marL="0" marR="0" lvl="0" indent="0" algn="ctr" defTabSz="914400" rtl="0" eaLnBrk="1" fontAlgn="auto" latinLnBrk="0" hangingPunct="1">
                <a:lnSpc>
                  <a:spcPct val="110000"/>
                </a:lnSpc>
                <a:spcBef>
                  <a:spcPct val="0"/>
                </a:spcBef>
                <a:spcAft>
                  <a:spcPts val="0"/>
                </a:spcAft>
                <a:buClr>
                  <a:srgbClr val="009999"/>
                </a:buClr>
                <a:buSzTx/>
                <a:buFont typeface="Arial" pitchFamily="34" charset="0"/>
                <a:buNone/>
                <a:tabLst/>
                <a:defRPr/>
              </a:pPr>
              <a:r>
                <a:rPr kumimoji="0" lang="en-US" sz="800" b="1" i="0" strike="noStrike" kern="0" cap="none" spc="0" normalizeH="0" noProof="0">
                  <a:ln>
                    <a:noFill/>
                  </a:ln>
                  <a:solidFill>
                    <a:schemeClr val="tx1"/>
                  </a:solidFill>
                  <a:effectLst/>
                  <a:uLnTx/>
                  <a:uFillTx/>
                  <a:latin typeface="Arial"/>
                  <a:ea typeface="+mn-ea"/>
                  <a:cs typeface="Arial" pitchFamily="34" charset="0"/>
                </a:rPr>
                <a:t>eMBB</a:t>
              </a:r>
              <a:endParaRPr kumimoji="0" lang="en-US" sz="800" b="1" i="0" strike="noStrike" kern="0" cap="none" spc="0" normalizeH="0" noProof="0" dirty="0">
                <a:ln>
                  <a:noFill/>
                </a:ln>
                <a:solidFill>
                  <a:schemeClr val="tx1"/>
                </a:solidFill>
                <a:effectLst/>
                <a:uLnTx/>
                <a:uFillTx/>
                <a:latin typeface="Arial"/>
                <a:ea typeface="+mn-ea"/>
                <a:cs typeface="Arial" pitchFamily="34" charset="0"/>
              </a:endParaRPr>
            </a:p>
          </p:txBody>
        </p:sp>
        <p:sp>
          <p:nvSpPr>
            <p:cNvPr id="43" name="Freihandform: Form 42">
              <a:extLst>
                <a:ext uri="{FF2B5EF4-FFF2-40B4-BE49-F238E27FC236}">
                  <a16:creationId xmlns:a16="http://schemas.microsoft.com/office/drawing/2014/main" id="{4A826E03-A026-41AA-8EE1-9FEC6B054768}"/>
                </a:ext>
              </a:extLst>
            </p:cNvPr>
            <p:cNvSpPr/>
            <p:nvPr/>
          </p:nvSpPr>
          <p:spPr bwMode="gray">
            <a:xfrm>
              <a:off x="1175000" y="2144469"/>
              <a:ext cx="641697" cy="568130"/>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3" y="681704"/>
                  </a:moveTo>
                  <a:lnTo>
                    <a:pt x="2361533" y="2045113"/>
                  </a:lnTo>
                  <a:lnTo>
                    <a:pt x="0" y="2045113"/>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solidFill>
                    <a:schemeClr val="tx1"/>
                  </a:solidFill>
                  <a:latin typeface="Arial"/>
                  <a:cs typeface="Arial" pitchFamily="34" charset="0"/>
                </a:rPr>
                <a:t>mMTC</a:t>
              </a:r>
              <a:endParaRPr lang="en-US" sz="800" b="1" kern="0" dirty="0">
                <a:solidFill>
                  <a:schemeClr val="tx1"/>
                </a:solidFill>
                <a:latin typeface="Arial"/>
                <a:cs typeface="Arial" pitchFamily="34" charset="0"/>
              </a:endParaRPr>
            </a:p>
          </p:txBody>
        </p:sp>
        <p:sp>
          <p:nvSpPr>
            <p:cNvPr id="44" name="Freihandform: Form 43">
              <a:extLst>
                <a:ext uri="{FF2B5EF4-FFF2-40B4-BE49-F238E27FC236}">
                  <a16:creationId xmlns:a16="http://schemas.microsoft.com/office/drawing/2014/main" id="{E21F08E1-2C18-49C4-B75A-CB7CA9F0FF03}"/>
                </a:ext>
              </a:extLst>
            </p:cNvPr>
            <p:cNvSpPr/>
            <p:nvPr/>
          </p:nvSpPr>
          <p:spPr bwMode="gray">
            <a:xfrm>
              <a:off x="1859824" y="2144443"/>
              <a:ext cx="662686" cy="568156"/>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Lst>
              <a:ahLst/>
              <a:cxnLst>
                <a:cxn ang="0">
                  <a:pos x="connsiteX0" y="connsiteY0"/>
                </a:cxn>
                <a:cxn ang="0">
                  <a:pos x="connsiteX1" y="connsiteY1"/>
                </a:cxn>
                <a:cxn ang="0">
                  <a:pos x="connsiteX2" y="connsiteY2"/>
                </a:cxn>
                <a:cxn ang="0">
                  <a:pos x="connsiteX3" y="connsiteY3"/>
                </a:cxn>
              </a:cxnLst>
              <a:rect l="l" t="t" r="r" b="b"/>
              <a:pathLst>
                <a:path w="2352675" h="2038350">
                  <a:moveTo>
                    <a:pt x="2361534" y="2045208"/>
                  </a:moveTo>
                  <a:lnTo>
                    <a:pt x="0" y="2045208"/>
                  </a:lnTo>
                  <a:lnTo>
                    <a:pt x="0" y="681704"/>
                  </a:lnTo>
                  <a:lnTo>
                    <a:pt x="118081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algn="ctr">
                <a:lnSpc>
                  <a:spcPct val="110000"/>
                </a:lnSpc>
                <a:spcBef>
                  <a:spcPct val="0"/>
                </a:spcBef>
                <a:buClr>
                  <a:srgbClr val="009999"/>
                </a:buClr>
              </a:pPr>
              <a:r>
                <a:rPr lang="en-US" sz="800" b="1" kern="0">
                  <a:solidFill>
                    <a:schemeClr val="tx1"/>
                  </a:solidFill>
                  <a:latin typeface="Arial"/>
                  <a:cs typeface="Arial" pitchFamily="34" charset="0"/>
                </a:rPr>
                <a:t>URLLC</a:t>
              </a:r>
              <a:endParaRPr lang="en-US" sz="800" b="1" kern="0" dirty="0">
                <a:solidFill>
                  <a:schemeClr val="tx1"/>
                </a:solidFill>
                <a:latin typeface="Arial"/>
                <a:cs typeface="Arial" pitchFamily="34" charset="0"/>
              </a:endParaRPr>
            </a:p>
          </p:txBody>
        </p:sp>
        <p:sp>
          <p:nvSpPr>
            <p:cNvPr id="45" name="TextBox 5">
              <a:extLst>
                <a:ext uri="{FF2B5EF4-FFF2-40B4-BE49-F238E27FC236}">
                  <a16:creationId xmlns:a16="http://schemas.microsoft.com/office/drawing/2014/main" id="{DA4DCF57-DC0E-4213-8772-69BFA4753205}"/>
                </a:ext>
              </a:extLst>
            </p:cNvPr>
            <p:cNvSpPr txBox="1">
              <a:spLocks noChangeArrowheads="1"/>
            </p:cNvSpPr>
            <p:nvPr>
              <p:custDataLst>
                <p:tags r:id="rId3"/>
              </p:custDataLst>
            </p:nvPr>
          </p:nvSpPr>
          <p:spPr bwMode="gray">
            <a:xfrm>
              <a:off x="1739747" y="2187032"/>
              <a:ext cx="216000" cy="216000"/>
            </a:xfrm>
            <a:prstGeom prst="ellipse">
              <a:avLst/>
            </a:prstGeom>
            <a:noFill/>
            <a:ln w="9525">
              <a:noFill/>
              <a:miter lim="800000"/>
              <a:headEnd/>
              <a:tailEnd/>
            </a:ln>
            <a:effectLst>
              <a:glow rad="88900">
                <a:schemeClr val="accent6">
                  <a:alpha val="83000"/>
                </a:schemeClr>
              </a:glow>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1100" b="1" i="0" strike="noStrike" kern="0" cap="none" spc="0" normalizeH="0" noProof="0">
                  <a:ln>
                    <a:noFill/>
                  </a:ln>
                  <a:solidFill>
                    <a:schemeClr val="dk2"/>
                  </a:solidFill>
                  <a:effectLst/>
                  <a:uLnTx/>
                  <a:uFillTx/>
                  <a:latin typeface="Arial" pitchFamily="34" charset="0"/>
                  <a:ea typeface="+mn-ea"/>
                  <a:cs typeface="Arial" pitchFamily="34" charset="0"/>
                </a:rPr>
                <a:t>5G</a:t>
              </a:r>
              <a:endParaRPr kumimoji="0" lang="en-US" sz="1100" b="1" i="0" strike="noStrike" kern="0" cap="none" spc="0" normalizeH="0" noProof="0" dirty="0">
                <a:ln>
                  <a:noFill/>
                </a:ln>
                <a:solidFill>
                  <a:schemeClr val="dk2"/>
                </a:solidFill>
                <a:effectLst/>
                <a:uLnTx/>
                <a:uFillTx/>
                <a:latin typeface="Arial" pitchFamily="34" charset="0"/>
                <a:ea typeface="+mn-ea"/>
                <a:cs typeface="Arial" pitchFamily="34" charset="0"/>
              </a:endParaRPr>
            </a:p>
          </p:txBody>
        </p:sp>
        <p:sp>
          <p:nvSpPr>
            <p:cNvPr id="46" name="Freihandform: Form 45">
              <a:extLst>
                <a:ext uri="{FF2B5EF4-FFF2-40B4-BE49-F238E27FC236}">
                  <a16:creationId xmlns:a16="http://schemas.microsoft.com/office/drawing/2014/main" id="{DEB41A6C-7C98-418E-BCD1-097B4FD744AB}"/>
                </a:ext>
              </a:extLst>
            </p:cNvPr>
            <p:cNvSpPr/>
            <p:nvPr/>
          </p:nvSpPr>
          <p:spPr bwMode="gray">
            <a:xfrm>
              <a:off x="1059160" y="2114095"/>
              <a:ext cx="756609" cy="655232"/>
            </a:xfrm>
            <a:custGeom>
              <a:avLst/>
              <a:gdLst>
                <a:gd name="connsiteX0" fmla="*/ 2361533 w 2352675"/>
                <a:gd name="connsiteY0" fmla="*/ 681704 h 2038350"/>
                <a:gd name="connsiteX1" fmla="*/ 2361533 w 2352675"/>
                <a:gd name="connsiteY1" fmla="*/ 2045113 h 2038350"/>
                <a:gd name="connsiteX2" fmla="*/ 0 w 2352675"/>
                <a:gd name="connsiteY2" fmla="*/ 2045113 h 2038350"/>
                <a:gd name="connsiteX3" fmla="*/ 1180814 w 2352675"/>
                <a:gd name="connsiteY3" fmla="*/ 0 h 2038350"/>
                <a:gd name="connsiteX0" fmla="*/ 2361533 w 2468452"/>
                <a:gd name="connsiteY0" fmla="*/ 681704 h 2045113"/>
                <a:gd name="connsiteX1" fmla="*/ 2361533 w 2468452"/>
                <a:gd name="connsiteY1" fmla="*/ 2045113 h 2045113"/>
                <a:gd name="connsiteX2" fmla="*/ 0 w 2468452"/>
                <a:gd name="connsiteY2" fmla="*/ 2045113 h 2045113"/>
                <a:gd name="connsiteX3" fmla="*/ 1180814 w 2468452"/>
                <a:gd name="connsiteY3" fmla="*/ 0 h 2045113"/>
                <a:gd name="connsiteX4" fmla="*/ 2468452 w 2468452"/>
                <a:gd name="connsiteY4" fmla="*/ 788623 h 2045113"/>
                <a:gd name="connsiteX0" fmla="*/ 2361533 w 2361533"/>
                <a:gd name="connsiteY0" fmla="*/ 681704 h 2045113"/>
                <a:gd name="connsiteX1" fmla="*/ 2361533 w 2361533"/>
                <a:gd name="connsiteY1" fmla="*/ 2045113 h 2045113"/>
                <a:gd name="connsiteX2" fmla="*/ 0 w 2361533"/>
                <a:gd name="connsiteY2" fmla="*/ 2045113 h 2045113"/>
                <a:gd name="connsiteX3" fmla="*/ 1180814 w 2361533"/>
                <a:gd name="connsiteY3" fmla="*/ 0 h 2045113"/>
                <a:gd name="connsiteX0" fmla="*/ 2361533 w 2361533"/>
                <a:gd name="connsiteY0" fmla="*/ 2045113 h 2045113"/>
                <a:gd name="connsiteX1" fmla="*/ 0 w 2361533"/>
                <a:gd name="connsiteY1" fmla="*/ 2045113 h 2045113"/>
                <a:gd name="connsiteX2" fmla="*/ 1180814 w 2361533"/>
                <a:gd name="connsiteY2" fmla="*/ 0 h 2045113"/>
              </a:gdLst>
              <a:ahLst/>
              <a:cxnLst>
                <a:cxn ang="0">
                  <a:pos x="connsiteX0" y="connsiteY0"/>
                </a:cxn>
                <a:cxn ang="0">
                  <a:pos x="connsiteX1" y="connsiteY1"/>
                </a:cxn>
                <a:cxn ang="0">
                  <a:pos x="connsiteX2" y="connsiteY2"/>
                </a:cxn>
              </a:cxnLst>
              <a:rect l="l" t="t" r="r" b="b"/>
              <a:pathLst>
                <a:path w="2361533" h="2045113">
                  <a:moveTo>
                    <a:pt x="2361533" y="2045113"/>
                  </a:moveTo>
                  <a:lnTo>
                    <a:pt x="0" y="2045113"/>
                  </a:lnTo>
                  <a:lnTo>
                    <a:pt x="1180814" y="0"/>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i="0" strike="noStrike" kern="0" cap="none" spc="0" normalizeH="0" noProof="0" dirty="0">
                <a:ln>
                  <a:noFill/>
                </a:ln>
                <a:solidFill>
                  <a:prstClr val="white"/>
                </a:solidFill>
                <a:effectLst/>
                <a:uLnTx/>
                <a:uFillTx/>
              </a:endParaRPr>
            </a:p>
          </p:txBody>
        </p:sp>
        <p:sp>
          <p:nvSpPr>
            <p:cNvPr id="47" name="Freihandform: Form 46">
              <a:extLst>
                <a:ext uri="{FF2B5EF4-FFF2-40B4-BE49-F238E27FC236}">
                  <a16:creationId xmlns:a16="http://schemas.microsoft.com/office/drawing/2014/main" id="{B37C97E4-F2FD-4D5E-9586-96A95D908DD9}"/>
                </a:ext>
              </a:extLst>
            </p:cNvPr>
            <p:cNvSpPr/>
            <p:nvPr/>
          </p:nvSpPr>
          <p:spPr bwMode="gray">
            <a:xfrm>
              <a:off x="1461374" y="1417422"/>
              <a:ext cx="756609" cy="655262"/>
            </a:xfrm>
            <a:custGeom>
              <a:avLst/>
              <a:gdLst>
                <a:gd name="connsiteX0" fmla="*/ 2361533 w 2352675"/>
                <a:gd name="connsiteY0" fmla="*/ 2045113 h 2724150"/>
                <a:gd name="connsiteX1" fmla="*/ 1180719 w 2352675"/>
                <a:gd name="connsiteY1" fmla="*/ 2726912 h 2724150"/>
                <a:gd name="connsiteX2" fmla="*/ 0 w 2352675"/>
                <a:gd name="connsiteY2" fmla="*/ 2045208 h 2724150"/>
                <a:gd name="connsiteX3" fmla="*/ 1180814 w 2352675"/>
                <a:gd name="connsiteY3" fmla="*/ 0 h 2724150"/>
                <a:gd name="connsiteX0" fmla="*/ 1180719 w 2361533"/>
                <a:gd name="connsiteY0" fmla="*/ 2726912 h 2833831"/>
                <a:gd name="connsiteX1" fmla="*/ 0 w 2361533"/>
                <a:gd name="connsiteY1" fmla="*/ 2045208 h 2833831"/>
                <a:gd name="connsiteX2" fmla="*/ 1180814 w 2361533"/>
                <a:gd name="connsiteY2" fmla="*/ 0 h 2833831"/>
                <a:gd name="connsiteX3" fmla="*/ 2361533 w 2361533"/>
                <a:gd name="connsiteY3" fmla="*/ 2045113 h 2833831"/>
                <a:gd name="connsiteX4" fmla="*/ 1287638 w 2361533"/>
                <a:gd name="connsiteY4" fmla="*/ 2833831 h 2833831"/>
                <a:gd name="connsiteX0" fmla="*/ 0 w 2361533"/>
                <a:gd name="connsiteY0" fmla="*/ 2045208 h 2833831"/>
                <a:gd name="connsiteX1" fmla="*/ 1180814 w 2361533"/>
                <a:gd name="connsiteY1" fmla="*/ 0 h 2833831"/>
                <a:gd name="connsiteX2" fmla="*/ 2361533 w 2361533"/>
                <a:gd name="connsiteY2" fmla="*/ 2045113 h 2833831"/>
                <a:gd name="connsiteX3" fmla="*/ 1287638 w 2361533"/>
                <a:gd name="connsiteY3" fmla="*/ 2833831 h 2833831"/>
                <a:gd name="connsiteX0" fmla="*/ 0 w 2361533"/>
                <a:gd name="connsiteY0" fmla="*/ 2045208 h 2045208"/>
                <a:gd name="connsiteX1" fmla="*/ 1180814 w 2361533"/>
                <a:gd name="connsiteY1" fmla="*/ 0 h 2045208"/>
                <a:gd name="connsiteX2" fmla="*/ 2361533 w 2361533"/>
                <a:gd name="connsiteY2" fmla="*/ 2045113 h 2045208"/>
              </a:gdLst>
              <a:ahLst/>
              <a:cxnLst>
                <a:cxn ang="0">
                  <a:pos x="connsiteX0" y="connsiteY0"/>
                </a:cxn>
                <a:cxn ang="0">
                  <a:pos x="connsiteX1" y="connsiteY1"/>
                </a:cxn>
                <a:cxn ang="0">
                  <a:pos x="connsiteX2" y="connsiteY2"/>
                </a:cxn>
              </a:cxnLst>
              <a:rect l="l" t="t" r="r" b="b"/>
              <a:pathLst>
                <a:path w="2361533" h="2045208">
                  <a:moveTo>
                    <a:pt x="0" y="2045208"/>
                  </a:moveTo>
                  <a:lnTo>
                    <a:pt x="1180814" y="0"/>
                  </a:lnTo>
                  <a:lnTo>
                    <a:pt x="2361533" y="2045113"/>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sp>
          <p:nvSpPr>
            <p:cNvPr id="48" name="Freihandform: Form 47">
              <a:extLst>
                <a:ext uri="{FF2B5EF4-FFF2-40B4-BE49-F238E27FC236}">
                  <a16:creationId xmlns:a16="http://schemas.microsoft.com/office/drawing/2014/main" id="{7208D22D-03BD-4161-92B6-904FCBA61E10}"/>
                </a:ext>
              </a:extLst>
            </p:cNvPr>
            <p:cNvSpPr/>
            <p:nvPr/>
          </p:nvSpPr>
          <p:spPr bwMode="gray">
            <a:xfrm>
              <a:off x="1863589" y="2114065"/>
              <a:ext cx="756609" cy="655262"/>
            </a:xfrm>
            <a:custGeom>
              <a:avLst/>
              <a:gdLst>
                <a:gd name="connsiteX0" fmla="*/ 2361534 w 2352675"/>
                <a:gd name="connsiteY0" fmla="*/ 2045208 h 2038350"/>
                <a:gd name="connsiteX1" fmla="*/ 0 w 2352675"/>
                <a:gd name="connsiteY1" fmla="*/ 2045208 h 2038350"/>
                <a:gd name="connsiteX2" fmla="*/ 0 w 2352675"/>
                <a:gd name="connsiteY2" fmla="*/ 681704 h 2038350"/>
                <a:gd name="connsiteX3" fmla="*/ 1180814 w 2352675"/>
                <a:gd name="connsiteY3" fmla="*/ 0 h 2038350"/>
                <a:gd name="connsiteX0" fmla="*/ 0 w 2361533"/>
                <a:gd name="connsiteY0" fmla="*/ 681704 h 2045208"/>
                <a:gd name="connsiteX1" fmla="*/ 1180814 w 2361533"/>
                <a:gd name="connsiteY1" fmla="*/ 0 h 2045208"/>
                <a:gd name="connsiteX2" fmla="*/ 2361534 w 2361533"/>
                <a:gd name="connsiteY2" fmla="*/ 2045208 h 2045208"/>
                <a:gd name="connsiteX3" fmla="*/ 0 w 2361533"/>
                <a:gd name="connsiteY3" fmla="*/ 2045208 h 2045208"/>
                <a:gd name="connsiteX4" fmla="*/ 106919 w 2361533"/>
                <a:gd name="connsiteY4" fmla="*/ 788623 h 2045208"/>
                <a:gd name="connsiteX0" fmla="*/ 0 w 2361534"/>
                <a:gd name="connsiteY0" fmla="*/ 681704 h 2045208"/>
                <a:gd name="connsiteX1" fmla="*/ 1180814 w 2361534"/>
                <a:gd name="connsiteY1" fmla="*/ 0 h 2045208"/>
                <a:gd name="connsiteX2" fmla="*/ 2361534 w 2361534"/>
                <a:gd name="connsiteY2" fmla="*/ 2045208 h 2045208"/>
                <a:gd name="connsiteX3" fmla="*/ 0 w 2361534"/>
                <a:gd name="connsiteY3" fmla="*/ 2045208 h 2045208"/>
                <a:gd name="connsiteX0" fmla="*/ 1180814 w 2361534"/>
                <a:gd name="connsiteY0" fmla="*/ 0 h 2045208"/>
                <a:gd name="connsiteX1" fmla="*/ 2361534 w 2361534"/>
                <a:gd name="connsiteY1" fmla="*/ 2045208 h 2045208"/>
                <a:gd name="connsiteX2" fmla="*/ 0 w 2361534"/>
                <a:gd name="connsiteY2" fmla="*/ 2045208 h 2045208"/>
              </a:gdLst>
              <a:ahLst/>
              <a:cxnLst>
                <a:cxn ang="0">
                  <a:pos x="connsiteX0" y="connsiteY0"/>
                </a:cxn>
                <a:cxn ang="0">
                  <a:pos x="connsiteX1" y="connsiteY1"/>
                </a:cxn>
                <a:cxn ang="0">
                  <a:pos x="connsiteX2" y="connsiteY2"/>
                </a:cxn>
              </a:cxnLst>
              <a:rect l="l" t="t" r="r" b="b"/>
              <a:pathLst>
                <a:path w="2361534" h="2045208">
                  <a:moveTo>
                    <a:pt x="1180814" y="0"/>
                  </a:moveTo>
                  <a:lnTo>
                    <a:pt x="2361534" y="2045208"/>
                  </a:lnTo>
                  <a:lnTo>
                    <a:pt x="0" y="2045208"/>
                  </a:lnTo>
                </a:path>
              </a:pathLst>
            </a:custGeom>
            <a:noFill/>
            <a:ln w="25400"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strike="noStrike" kern="0" cap="none" spc="0" normalizeH="0" noProof="0" dirty="0">
                <a:ln>
                  <a:noFill/>
                </a:ln>
                <a:solidFill>
                  <a:prstClr val="white"/>
                </a:solidFill>
                <a:effectLst/>
                <a:uLnTx/>
                <a:uFillTx/>
              </a:endParaRPr>
            </a:p>
          </p:txBody>
        </p:sp>
      </p:grpSp>
      <p:sp>
        <p:nvSpPr>
          <p:cNvPr id="49" name="TextBox 5">
            <a:extLst>
              <a:ext uri="{FF2B5EF4-FFF2-40B4-BE49-F238E27FC236}">
                <a16:creationId xmlns:a16="http://schemas.microsoft.com/office/drawing/2014/main" id="{DF0AE42D-5001-4C2D-A205-541ADF69A5E9}"/>
              </a:ext>
            </a:extLst>
          </p:cNvPr>
          <p:cNvSpPr txBox="1">
            <a:spLocks noChangeArrowheads="1"/>
          </p:cNvSpPr>
          <p:nvPr>
            <p:custDataLst>
              <p:tags r:id="rId2"/>
            </p:custDataLst>
          </p:nvPr>
        </p:nvSpPr>
        <p:spPr bwMode="gray">
          <a:xfrm>
            <a:off x="10739635" y="2363623"/>
            <a:ext cx="214196" cy="218572"/>
          </a:xfrm>
          <a:prstGeom prst="ellipse">
            <a:avLst/>
          </a:prstGeom>
          <a:noFill/>
          <a:ln w="9525">
            <a:noFill/>
            <a:miter lim="800000"/>
            <a:headEnd/>
            <a:tailEnd/>
          </a:ln>
          <a:effectLst>
            <a:glow rad="88900">
              <a:schemeClr val="accent6">
                <a:alpha val="83000"/>
              </a:schemeClr>
            </a:glow>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ctr" defTabSz="914400" rtl="0" eaLnBrk="1" fontAlgn="base" latinLnBrk="0" hangingPunct="1">
              <a:lnSpc>
                <a:spcPct val="110000"/>
              </a:lnSpc>
              <a:spcBef>
                <a:spcPct val="0"/>
              </a:spcBef>
              <a:spcAft>
                <a:spcPct val="0"/>
              </a:spcAft>
              <a:buClr>
                <a:srgbClr val="009999"/>
              </a:buClr>
              <a:buSzTx/>
              <a:buFont typeface="Arial" pitchFamily="34" charset="0"/>
              <a:buNone/>
              <a:tabLst/>
              <a:defRPr/>
            </a:pPr>
            <a:r>
              <a:rPr kumimoji="0" lang="en-US" sz="800" b="1" i="0" strike="noStrike" kern="0" cap="none" spc="0" normalizeH="0" noProof="0">
                <a:ln>
                  <a:noFill/>
                </a:ln>
                <a:solidFill>
                  <a:schemeClr val="dk2"/>
                </a:solidFill>
                <a:effectLst/>
                <a:uLnTx/>
                <a:uFillTx/>
                <a:latin typeface="Arial" pitchFamily="34" charset="0"/>
                <a:ea typeface="+mn-ea"/>
                <a:cs typeface="Arial" pitchFamily="34" charset="0"/>
              </a:rPr>
              <a:t>Advanced</a:t>
            </a:r>
            <a:endParaRPr kumimoji="0" lang="en-US" sz="800" b="1" i="0" strike="noStrike" kern="0" cap="none" spc="0" normalizeH="0" noProof="0" dirty="0">
              <a:ln>
                <a:noFill/>
              </a:ln>
              <a:solidFill>
                <a:schemeClr val="dk2"/>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477027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5B12EB9-349F-4B34-9BF8-85C712FB9955}"/>
              </a:ext>
            </a:extLst>
          </p:cNvPr>
          <p:cNvGraphicFramePr>
            <a:graphicFrameLocks noChangeAspect="1"/>
          </p:cNvGraphicFramePr>
          <p:nvPr>
            <p:custDataLst>
              <p:tags r:id="rId1"/>
            </p:custDataLst>
          </p:nvPr>
        </p:nvGraphicFramePr>
        <p:xfrm>
          <a:off x="4761" y="5157"/>
          <a:ext cx="1586" cy="1586"/>
        </p:xfrm>
        <a:graphic>
          <a:graphicData uri="http://schemas.openxmlformats.org/presentationml/2006/ole">
            <mc:AlternateContent xmlns:mc="http://schemas.openxmlformats.org/markup-compatibility/2006">
              <mc:Choice xmlns:v="urn:schemas-microsoft-com:vml" Requires="v">
                <p:oleObj name="think-cell Folie" r:id="rId14" imgW="663" imgH="664" progId="TCLayout.ActiveDocument.1">
                  <p:embed/>
                </p:oleObj>
              </mc:Choice>
              <mc:Fallback>
                <p:oleObj name="think-cell Folie" r:id="rId14" imgW="663" imgH="664" progId="TCLayout.ActiveDocument.1">
                  <p:embed/>
                  <p:pic>
                    <p:nvPicPr>
                      <p:cNvPr id="3" name="Objekt 2" hidden="1">
                        <a:extLst>
                          <a:ext uri="{FF2B5EF4-FFF2-40B4-BE49-F238E27FC236}">
                            <a16:creationId xmlns:a16="http://schemas.microsoft.com/office/drawing/2014/main" id="{35B12EB9-349F-4B34-9BF8-85C712FB9955}"/>
                          </a:ext>
                        </a:extLst>
                      </p:cNvPr>
                      <p:cNvPicPr/>
                      <p:nvPr/>
                    </p:nvPicPr>
                    <p:blipFill>
                      <a:blip r:embed="rId15"/>
                      <a:stretch>
                        <a:fillRect/>
                      </a:stretch>
                    </p:blipFill>
                    <p:spPr>
                      <a:xfrm>
                        <a:off x="4761" y="5157"/>
                        <a:ext cx="1586" cy="1586"/>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104F0C1-EB8F-479B-AB54-762C32297824}"/>
              </a:ext>
            </a:extLst>
          </p:cNvPr>
          <p:cNvSpPr/>
          <p:nvPr>
            <p:custDataLst>
              <p:tags r:id="rId2"/>
            </p:custDataLst>
          </p:nvPr>
        </p:nvSpPr>
        <p:spPr bwMode="auto">
          <a:xfrm>
            <a:off x="3175" y="3571"/>
            <a:ext cx="158584" cy="15858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pPr>
            <a:endParaRPr lang="en-US" sz="1999" b="1" dirty="0">
              <a:solidFill>
                <a:srgbClr val="000000"/>
              </a:solidFill>
              <a:latin typeface="Arial" panose="020B0604020202020204" pitchFamily="34" charset="0"/>
              <a:sym typeface="Arial" panose="020B0604020202020204" pitchFamily="34" charset="0"/>
            </a:endParaRPr>
          </a:p>
        </p:txBody>
      </p:sp>
      <p:sp>
        <p:nvSpPr>
          <p:cNvPr id="5" name="Titel 4">
            <a:extLst>
              <a:ext uri="{FF2B5EF4-FFF2-40B4-BE49-F238E27FC236}">
                <a16:creationId xmlns:a16="http://schemas.microsoft.com/office/drawing/2014/main" id="{73A8C045-C03E-4F62-BA46-081B16D60C96}"/>
              </a:ext>
            </a:extLst>
          </p:cNvPr>
          <p:cNvSpPr>
            <a:spLocks noGrp="1"/>
          </p:cNvSpPr>
          <p:nvPr>
            <p:ph type="title"/>
          </p:nvPr>
        </p:nvSpPr>
        <p:spPr/>
        <p:txBody>
          <a:bodyPr/>
          <a:lstStyle/>
          <a:p>
            <a:r>
              <a:rPr lang="en-US" dirty="0"/>
              <a:t>Which 5G infrastructure is right for your Industrial Automation?</a:t>
            </a:r>
          </a:p>
        </p:txBody>
      </p:sp>
      <p:sp>
        <p:nvSpPr>
          <p:cNvPr id="26" name="Textfeld 25">
            <a:extLst>
              <a:ext uri="{FF2B5EF4-FFF2-40B4-BE49-F238E27FC236}">
                <a16:creationId xmlns:a16="http://schemas.microsoft.com/office/drawing/2014/main" id="{E53D33C4-7F7A-4FFC-A257-39BE742CDB93}"/>
              </a:ext>
            </a:extLst>
          </p:cNvPr>
          <p:cNvSpPr txBox="1">
            <a:spLocks/>
          </p:cNvSpPr>
          <p:nvPr/>
        </p:nvSpPr>
        <p:spPr>
          <a:xfrm>
            <a:off x="426387" y="6150408"/>
            <a:ext cx="4539697" cy="307520"/>
          </a:xfrm>
          <a:prstGeom prst="rect">
            <a:avLst/>
          </a:prstGeom>
          <a:noFill/>
        </p:spPr>
        <p:txBody>
          <a:bodyPr wrap="square" lIns="0" tIns="0" rIns="0" bIns="0" rtlCol="0">
            <a:spAutoFit/>
          </a:bodyPr>
          <a:lstStyle/>
          <a:p>
            <a:r>
              <a:rPr lang="en-US" sz="999" b="1" baseline="30000" dirty="0">
                <a:solidFill>
                  <a:schemeClr val="dk1"/>
                </a:solidFill>
                <a:latin typeface="Arial"/>
              </a:rPr>
              <a:t>1</a:t>
            </a:r>
            <a:r>
              <a:rPr lang="en-US" sz="999" b="1" dirty="0">
                <a:solidFill>
                  <a:schemeClr val="dk1"/>
                </a:solidFill>
                <a:latin typeface="Arial"/>
              </a:rPr>
              <a:t> </a:t>
            </a:r>
            <a:r>
              <a:rPr lang="en-US" sz="999" dirty="0">
                <a:solidFill>
                  <a:schemeClr val="dk1"/>
                </a:solidFill>
                <a:latin typeface="Arial"/>
              </a:rPr>
              <a:t>Depends on the implementation of the provider, most likely variants are shown</a:t>
            </a:r>
          </a:p>
          <a:p>
            <a:r>
              <a:rPr lang="en-US" sz="999" dirty="0">
                <a:solidFill>
                  <a:schemeClr val="dk1"/>
                </a:solidFill>
                <a:latin typeface="Arial"/>
              </a:rPr>
              <a:t>² Based on German spectrum model </a:t>
            </a:r>
          </a:p>
        </p:txBody>
      </p:sp>
      <p:sp>
        <p:nvSpPr>
          <p:cNvPr id="135" name="Highlight-Box">
            <a:extLst>
              <a:ext uri="{FF2B5EF4-FFF2-40B4-BE49-F238E27FC236}">
                <a16:creationId xmlns:a16="http://schemas.microsoft.com/office/drawing/2014/main" id="{4CFB4A51-D2F1-4651-B38F-D164E3009B16}"/>
              </a:ext>
            </a:extLst>
          </p:cNvPr>
          <p:cNvSpPr txBox="1">
            <a:spLocks noChangeArrowheads="1"/>
          </p:cNvSpPr>
          <p:nvPr/>
        </p:nvSpPr>
        <p:spPr bwMode="auto">
          <a:xfrm>
            <a:off x="8145708" y="1410435"/>
            <a:ext cx="3638517" cy="4755577"/>
          </a:xfrm>
          <a:prstGeom prst="rect">
            <a:avLst/>
          </a:prstGeom>
          <a:gradFill>
            <a:gsLst>
              <a:gs pos="0">
                <a:srgbClr val="00FFB9"/>
              </a:gs>
              <a:gs pos="100000">
                <a:srgbClr val="00E6DC"/>
              </a:gs>
            </a:gsLst>
            <a:lin ang="0" scaled="0"/>
          </a:gradFill>
          <a:ln>
            <a:noFill/>
          </a:ln>
          <a:effectLst/>
        </p:spPr>
        <p:txBody>
          <a:bodyPr wrap="square" lIns="107944" tIns="53972" rIns="107944" bIns="53972" numCol="1" spcCol="72000" rtlCol="0" anchor="ctr">
            <a:noAutofit/>
          </a:bodyPr>
          <a:lstStyle>
            <a:defPPr>
              <a:defRPr lang="de-DE"/>
            </a:defPPr>
            <a:lvl1pPr>
              <a:lnSpc>
                <a:spcPct val="110000"/>
              </a:lnSpc>
              <a:spcBef>
                <a:spcPts val="0"/>
              </a:spcBef>
              <a:defRPr b="1">
                <a:solidFill>
                  <a:schemeClr val="tx1"/>
                </a:solidFill>
              </a:defRPr>
            </a:lvl1pPr>
          </a:lstStyle>
          <a:p>
            <a:endParaRPr lang="en-US" sz="1799" dirty="0">
              <a:solidFill>
                <a:srgbClr val="000000"/>
              </a:solidFill>
              <a:latin typeface="Arial"/>
            </a:endParaRPr>
          </a:p>
        </p:txBody>
      </p:sp>
      <p:sp>
        <p:nvSpPr>
          <p:cNvPr id="56" name="Rechteck 55">
            <a:extLst>
              <a:ext uri="{FF2B5EF4-FFF2-40B4-BE49-F238E27FC236}">
                <a16:creationId xmlns:a16="http://schemas.microsoft.com/office/drawing/2014/main" id="{0F8D8414-22A9-488E-AAA8-2E54502A1C95}"/>
              </a:ext>
            </a:extLst>
          </p:cNvPr>
          <p:cNvSpPr>
            <a:spLocks/>
          </p:cNvSpPr>
          <p:nvPr/>
        </p:nvSpPr>
        <p:spPr bwMode="auto">
          <a:xfrm>
            <a:off x="8281385" y="4149149"/>
            <a:ext cx="3346640" cy="1635818"/>
          </a:xfrm>
          <a:prstGeom prst="rect">
            <a:avLst/>
          </a:prstGeom>
          <a:solidFill>
            <a:schemeClr val="bg1"/>
          </a:solidFill>
          <a:ln w="12700" cap="rnd">
            <a:solidFill>
              <a:srgbClr val="3C464B"/>
            </a:solidFill>
            <a:prstDash val="solid"/>
            <a:round/>
            <a:headEnd/>
            <a:tailEnd/>
            <a:extLst>
              <a:ext uri="{C807C97D-BFC1-408E-A445-0C87EB9F89A2}">
                <ask:lineSketchStyleProps xmlns:ask="http://schemas.microsoft.com/office/drawing/2018/sketchyshapes" sd="849061371">
                  <a:custGeom>
                    <a:avLst/>
                    <a:gdLst>
                      <a:gd name="connsiteX0" fmla="*/ 0 w 3312938"/>
                      <a:gd name="connsiteY0" fmla="*/ 0 h 1619344"/>
                      <a:gd name="connsiteX1" fmla="*/ 3312938 w 3312938"/>
                      <a:gd name="connsiteY1" fmla="*/ 0 h 1619344"/>
                      <a:gd name="connsiteX2" fmla="*/ 3312938 w 3312938"/>
                      <a:gd name="connsiteY2" fmla="*/ 1619344 h 1619344"/>
                      <a:gd name="connsiteX3" fmla="*/ 0 w 3312938"/>
                      <a:gd name="connsiteY3" fmla="*/ 1619344 h 1619344"/>
                      <a:gd name="connsiteX4" fmla="*/ 0 w 3312938"/>
                      <a:gd name="connsiteY4" fmla="*/ 0 h 1619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938" h="1619344" extrusionOk="0">
                        <a:moveTo>
                          <a:pt x="0" y="0"/>
                        </a:moveTo>
                        <a:cubicBezTo>
                          <a:pt x="880226" y="-82622"/>
                          <a:pt x="2921923" y="30500"/>
                          <a:pt x="3312938" y="0"/>
                        </a:cubicBezTo>
                        <a:cubicBezTo>
                          <a:pt x="3449296" y="372311"/>
                          <a:pt x="3365914" y="1450613"/>
                          <a:pt x="3312938" y="1619344"/>
                        </a:cubicBezTo>
                        <a:cubicBezTo>
                          <a:pt x="1850990" y="1484176"/>
                          <a:pt x="973730" y="1789306"/>
                          <a:pt x="0" y="1619344"/>
                        </a:cubicBezTo>
                        <a:cubicBezTo>
                          <a:pt x="94654" y="1298325"/>
                          <a:pt x="-37646" y="316761"/>
                          <a:pt x="0" y="0"/>
                        </a:cubicBezTo>
                        <a:close/>
                      </a:path>
                    </a:pathLst>
                  </a:custGeom>
                  <ask:type>
                    <ask:lineSketchNone/>
                  </ask:type>
                </ask:lineSketchStyleProps>
              </a:ext>
            </a:extLst>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3" name="Textfeld 132">
            <a:extLst>
              <a:ext uri="{FF2B5EF4-FFF2-40B4-BE49-F238E27FC236}">
                <a16:creationId xmlns:a16="http://schemas.microsoft.com/office/drawing/2014/main" id="{90031ED3-00F1-4B3D-9F74-BF0FFB6049C6}"/>
              </a:ext>
            </a:extLst>
          </p:cNvPr>
          <p:cNvSpPr txBox="1"/>
          <p:nvPr/>
        </p:nvSpPr>
        <p:spPr>
          <a:xfrm>
            <a:off x="8288939" y="3566224"/>
            <a:ext cx="3339086" cy="519677"/>
          </a:xfrm>
          <a:prstGeom prst="rect">
            <a:avLst/>
          </a:prstGeom>
          <a:noFill/>
        </p:spPr>
        <p:txBody>
          <a:bodyPr vert="horz" wrap="square" lIns="0" tIns="0" rIns="0" bIns="0" rtlCol="0" anchor="ctr" anchorCtr="0">
            <a:noAutofit/>
          </a:bodyPr>
          <a:lstStyle/>
          <a:p>
            <a:pPr algn="ctr" fontAlgn="base">
              <a:lnSpc>
                <a:spcPct val="110000"/>
              </a:lnSpc>
              <a:spcAft>
                <a:spcPct val="0"/>
              </a:spcAft>
            </a:pPr>
            <a:r>
              <a:rPr lang="en-US" sz="3196" b="1" dirty="0">
                <a:solidFill>
                  <a:srgbClr val="000028"/>
                </a:solidFill>
                <a:latin typeface="Arial"/>
                <a:ea typeface="Arial Unicode MS" panose="020B0604020202020204" pitchFamily="34" charset="-128"/>
                <a:cs typeface="Arial Unicode MS" panose="020B0604020202020204" pitchFamily="34" charset="-128"/>
              </a:rPr>
              <a:t>Industrial 5G</a:t>
            </a:r>
          </a:p>
        </p:txBody>
      </p:sp>
      <p:cxnSp>
        <p:nvCxnSpPr>
          <p:cNvPr id="14" name="Gerader Verbinder 13">
            <a:extLst>
              <a:ext uri="{FF2B5EF4-FFF2-40B4-BE49-F238E27FC236}">
                <a16:creationId xmlns:a16="http://schemas.microsoft.com/office/drawing/2014/main" id="{D59F30A7-691B-4F79-A3A4-82BE19FE34E1}"/>
              </a:ext>
            </a:extLst>
          </p:cNvPr>
          <p:cNvCxnSpPr>
            <a:stCxn id="55" idx="0"/>
          </p:cNvCxnSpPr>
          <p:nvPr/>
        </p:nvCxnSpPr>
        <p:spPr bwMode="auto">
          <a:xfrm flipH="1" flipV="1">
            <a:off x="6348931" y="3759559"/>
            <a:ext cx="0" cy="389589"/>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Rechteck 14">
            <a:extLst>
              <a:ext uri="{FF2B5EF4-FFF2-40B4-BE49-F238E27FC236}">
                <a16:creationId xmlns:a16="http://schemas.microsoft.com/office/drawing/2014/main" id="{765884F9-5D82-4156-A84E-6D92E1734AD1}"/>
              </a:ext>
            </a:extLst>
          </p:cNvPr>
          <p:cNvSpPr/>
          <p:nvPr/>
        </p:nvSpPr>
        <p:spPr bwMode="auto">
          <a:xfrm>
            <a:off x="11091904"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6" name="Rechteck 15">
            <a:extLst>
              <a:ext uri="{FF2B5EF4-FFF2-40B4-BE49-F238E27FC236}">
                <a16:creationId xmlns:a16="http://schemas.microsoft.com/office/drawing/2014/main" id="{5321CBA2-62CD-493D-BB9D-1C55A5A85F4F}"/>
              </a:ext>
            </a:extLst>
          </p:cNvPr>
          <p:cNvSpPr/>
          <p:nvPr/>
        </p:nvSpPr>
        <p:spPr bwMode="auto">
          <a:xfrm>
            <a:off x="8872009"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7" name="Rechteck 16">
            <a:extLst>
              <a:ext uri="{FF2B5EF4-FFF2-40B4-BE49-F238E27FC236}">
                <a16:creationId xmlns:a16="http://schemas.microsoft.com/office/drawing/2014/main" id="{77BA2C95-5986-4378-AE98-85102225EBC3}"/>
              </a:ext>
            </a:extLst>
          </p:cNvPr>
          <p:cNvSpPr/>
          <p:nvPr/>
        </p:nvSpPr>
        <p:spPr bwMode="auto">
          <a:xfrm>
            <a:off x="5639970"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8" name="Rechteck 17">
            <a:extLst>
              <a:ext uri="{FF2B5EF4-FFF2-40B4-BE49-F238E27FC236}">
                <a16:creationId xmlns:a16="http://schemas.microsoft.com/office/drawing/2014/main" id="{5CA492C7-68F6-4CA7-9FAC-963FBAE33A1E}"/>
              </a:ext>
            </a:extLst>
          </p:cNvPr>
          <p:cNvSpPr/>
          <p:nvPr/>
        </p:nvSpPr>
        <p:spPr bwMode="auto">
          <a:xfrm>
            <a:off x="6406935"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9" name="Rechteck 18">
            <a:extLst>
              <a:ext uri="{FF2B5EF4-FFF2-40B4-BE49-F238E27FC236}">
                <a16:creationId xmlns:a16="http://schemas.microsoft.com/office/drawing/2014/main" id="{0D500B8F-6AD5-4994-841A-6216145B889E}"/>
              </a:ext>
            </a:extLst>
          </p:cNvPr>
          <p:cNvSpPr/>
          <p:nvPr/>
        </p:nvSpPr>
        <p:spPr bwMode="auto">
          <a:xfrm>
            <a:off x="2046567"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0" name="Rechteck 19">
            <a:extLst>
              <a:ext uri="{FF2B5EF4-FFF2-40B4-BE49-F238E27FC236}">
                <a16:creationId xmlns:a16="http://schemas.microsoft.com/office/drawing/2014/main" id="{6B675EBA-8E4C-45E8-913E-5829C58BFC73}"/>
              </a:ext>
            </a:extLst>
          </p:cNvPr>
          <p:cNvSpPr>
            <a:spLocks/>
          </p:cNvSpPr>
          <p:nvPr/>
        </p:nvSpPr>
        <p:spPr bwMode="auto">
          <a:xfrm>
            <a:off x="8288940" y="5161916"/>
            <a:ext cx="3334276" cy="221495"/>
          </a:xfrm>
          <a:prstGeom prst="rect">
            <a:avLst/>
          </a:prstGeom>
          <a:solidFill>
            <a:srgbClr val="9999A9"/>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1" name="Rechteck 20">
            <a:extLst>
              <a:ext uri="{FF2B5EF4-FFF2-40B4-BE49-F238E27FC236}">
                <a16:creationId xmlns:a16="http://schemas.microsoft.com/office/drawing/2014/main" id="{8323979E-DF0F-44A3-9F8A-195E786BAFFC}"/>
              </a:ext>
            </a:extLst>
          </p:cNvPr>
          <p:cNvSpPr>
            <a:spLocks/>
          </p:cNvSpPr>
          <p:nvPr/>
        </p:nvSpPr>
        <p:spPr bwMode="auto">
          <a:xfrm>
            <a:off x="4683521" y="5171538"/>
            <a:ext cx="3346640" cy="221495"/>
          </a:xfrm>
          <a:prstGeom prst="rect">
            <a:avLst/>
          </a:prstGeom>
          <a:solidFill>
            <a:srgbClr val="9999A9"/>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2" name="Rechteck 21">
            <a:extLst>
              <a:ext uri="{FF2B5EF4-FFF2-40B4-BE49-F238E27FC236}">
                <a16:creationId xmlns:a16="http://schemas.microsoft.com/office/drawing/2014/main" id="{50D7ED08-9378-436A-84FD-887CA6BD632E}"/>
              </a:ext>
            </a:extLst>
          </p:cNvPr>
          <p:cNvSpPr>
            <a:spLocks/>
          </p:cNvSpPr>
          <p:nvPr/>
        </p:nvSpPr>
        <p:spPr bwMode="auto">
          <a:xfrm>
            <a:off x="2788742" y="5171538"/>
            <a:ext cx="1636952" cy="221495"/>
          </a:xfrm>
          <a:prstGeom prst="rect">
            <a:avLst/>
          </a:prstGeom>
          <a:solidFill>
            <a:srgbClr val="9999A9"/>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3" name="Rechteck 22">
            <a:extLst>
              <a:ext uri="{FF2B5EF4-FFF2-40B4-BE49-F238E27FC236}">
                <a16:creationId xmlns:a16="http://schemas.microsoft.com/office/drawing/2014/main" id="{4E6E4599-2F7B-4037-ABC9-2F084BB05C58}"/>
              </a:ext>
            </a:extLst>
          </p:cNvPr>
          <p:cNvSpPr/>
          <p:nvPr/>
        </p:nvSpPr>
        <p:spPr bwMode="auto">
          <a:xfrm>
            <a:off x="3359966" y="4779195"/>
            <a:ext cx="953505" cy="656534"/>
          </a:xfrm>
          <a:prstGeom prst="rect">
            <a:avLst/>
          </a:prstGeom>
          <a:solidFill>
            <a:schemeClr val="bg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4" name="Freihandform: Form 23">
            <a:extLst>
              <a:ext uri="{FF2B5EF4-FFF2-40B4-BE49-F238E27FC236}">
                <a16:creationId xmlns:a16="http://schemas.microsoft.com/office/drawing/2014/main" id="{2A584D7B-A0CF-4028-949E-0C551CF3825E}"/>
              </a:ext>
            </a:extLst>
          </p:cNvPr>
          <p:cNvSpPr>
            <a:spLocks/>
          </p:cNvSpPr>
          <p:nvPr/>
        </p:nvSpPr>
        <p:spPr bwMode="auto">
          <a:xfrm>
            <a:off x="1226176" y="5171538"/>
            <a:ext cx="1489828" cy="221495"/>
          </a:xfrm>
          <a:custGeom>
            <a:avLst/>
            <a:gdLst>
              <a:gd name="connsiteX0" fmla="*/ 109800 w 1274619"/>
              <a:gd name="connsiteY0" fmla="*/ 0 h 219264"/>
              <a:gd name="connsiteX1" fmla="*/ 113259 w 1274619"/>
              <a:gd name="connsiteY1" fmla="*/ 698 h 219264"/>
              <a:gd name="connsiteX2" fmla="*/ 113259 w 1274619"/>
              <a:gd name="connsiteY2" fmla="*/ 0 h 219264"/>
              <a:gd name="connsiteX3" fmla="*/ 1274619 w 1274619"/>
              <a:gd name="connsiteY3" fmla="*/ 0 h 219264"/>
              <a:gd name="connsiteX4" fmla="*/ 1274619 w 1274619"/>
              <a:gd name="connsiteY4" fmla="*/ 219264 h 219264"/>
              <a:gd name="connsiteX5" fmla="*/ 113259 w 1274619"/>
              <a:gd name="connsiteY5" fmla="*/ 219264 h 219264"/>
              <a:gd name="connsiteX6" fmla="*/ 113259 w 1274619"/>
              <a:gd name="connsiteY6" fmla="*/ 218567 h 219264"/>
              <a:gd name="connsiteX7" fmla="*/ 109800 w 1274619"/>
              <a:gd name="connsiteY7" fmla="*/ 219264 h 219264"/>
              <a:gd name="connsiteX8" fmla="*/ 0 w 1274619"/>
              <a:gd name="connsiteY8" fmla="*/ 109632 h 219264"/>
              <a:gd name="connsiteX9" fmla="*/ 109800 w 1274619"/>
              <a:gd name="connsiteY9" fmla="*/ 0 h 21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4619" h="219264">
                <a:moveTo>
                  <a:pt x="109800" y="0"/>
                </a:moveTo>
                <a:lnTo>
                  <a:pt x="113259" y="698"/>
                </a:lnTo>
                <a:lnTo>
                  <a:pt x="113259" y="0"/>
                </a:lnTo>
                <a:lnTo>
                  <a:pt x="1274619" y="0"/>
                </a:lnTo>
                <a:lnTo>
                  <a:pt x="1274619" y="219264"/>
                </a:lnTo>
                <a:lnTo>
                  <a:pt x="113259" y="219264"/>
                </a:lnTo>
                <a:lnTo>
                  <a:pt x="113259" y="218567"/>
                </a:lnTo>
                <a:lnTo>
                  <a:pt x="109800" y="219264"/>
                </a:lnTo>
                <a:cubicBezTo>
                  <a:pt x="49159" y="219264"/>
                  <a:pt x="0" y="170180"/>
                  <a:pt x="0" y="109632"/>
                </a:cubicBezTo>
                <a:cubicBezTo>
                  <a:pt x="0" y="49084"/>
                  <a:pt x="49159" y="0"/>
                  <a:pt x="109800" y="0"/>
                </a:cubicBezTo>
                <a:close/>
              </a:path>
            </a:pathLst>
          </a:custGeom>
          <a:solidFill>
            <a:srgbClr val="9999A9"/>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5" name="Textfeld 24">
            <a:extLst>
              <a:ext uri="{FF2B5EF4-FFF2-40B4-BE49-F238E27FC236}">
                <a16:creationId xmlns:a16="http://schemas.microsoft.com/office/drawing/2014/main" id="{C6E01494-7D4F-4E68-8745-B28ED37AEC06}"/>
              </a:ext>
            </a:extLst>
          </p:cNvPr>
          <p:cNvSpPr txBox="1">
            <a:spLocks noChangeArrowheads="1"/>
          </p:cNvSpPr>
          <p:nvPr>
            <p:custDataLst>
              <p:tags r:id="rId3"/>
            </p:custDataLst>
          </p:nvPr>
        </p:nvSpPr>
        <p:spPr bwMode="auto">
          <a:xfrm>
            <a:off x="1095398" y="1493003"/>
            <a:ext cx="9744638" cy="197074"/>
          </a:xfrm>
          <a:custGeom>
            <a:avLst/>
            <a:gdLst/>
            <a:ahLst/>
            <a:cxnLst/>
            <a:rect l="l" t="t" r="r" b="b"/>
            <a:pathLst>
              <a:path w="9646504" h="195090">
                <a:moveTo>
                  <a:pt x="7691010" y="125550"/>
                </a:moveTo>
                <a:lnTo>
                  <a:pt x="7718454" y="125550"/>
                </a:lnTo>
                <a:lnTo>
                  <a:pt x="7718454" y="145182"/>
                </a:lnTo>
                <a:cubicBezTo>
                  <a:pt x="7718454" y="153125"/>
                  <a:pt x="7717771" y="159392"/>
                  <a:pt x="7716403" y="163983"/>
                </a:cubicBezTo>
                <a:cubicBezTo>
                  <a:pt x="7715036" y="168573"/>
                  <a:pt x="7712448" y="172692"/>
                  <a:pt x="7708639" y="176338"/>
                </a:cubicBezTo>
                <a:cubicBezTo>
                  <a:pt x="7704830" y="179984"/>
                  <a:pt x="7699995" y="182849"/>
                  <a:pt x="7694135" y="184933"/>
                </a:cubicBezTo>
                <a:lnTo>
                  <a:pt x="7688763" y="173603"/>
                </a:lnTo>
                <a:cubicBezTo>
                  <a:pt x="7694298" y="171780"/>
                  <a:pt x="7698237" y="169273"/>
                  <a:pt x="7700581" y="166083"/>
                </a:cubicBezTo>
                <a:cubicBezTo>
                  <a:pt x="7702925" y="162892"/>
                  <a:pt x="7704162" y="158530"/>
                  <a:pt x="7704292" y="152995"/>
                </a:cubicBezTo>
                <a:lnTo>
                  <a:pt x="7691010" y="152995"/>
                </a:lnTo>
                <a:close/>
                <a:moveTo>
                  <a:pt x="8244227" y="103184"/>
                </a:moveTo>
                <a:cubicBezTo>
                  <a:pt x="8240711" y="104356"/>
                  <a:pt x="8235144" y="105756"/>
                  <a:pt x="8227526" y="107384"/>
                </a:cubicBezTo>
                <a:cubicBezTo>
                  <a:pt x="8219908" y="109012"/>
                  <a:pt x="8214926" y="110607"/>
                  <a:pt x="8212582" y="112170"/>
                </a:cubicBezTo>
                <a:cubicBezTo>
                  <a:pt x="8209001" y="114709"/>
                  <a:pt x="8207211" y="117932"/>
                  <a:pt x="8207211" y="121839"/>
                </a:cubicBezTo>
                <a:cubicBezTo>
                  <a:pt x="8207211" y="125680"/>
                  <a:pt x="8208643" y="129001"/>
                  <a:pt x="8211508" y="131801"/>
                </a:cubicBezTo>
                <a:cubicBezTo>
                  <a:pt x="8214373" y="134601"/>
                  <a:pt x="8218019" y="136001"/>
                  <a:pt x="8222447" y="136001"/>
                </a:cubicBezTo>
                <a:cubicBezTo>
                  <a:pt x="8227396" y="136001"/>
                  <a:pt x="8232116" y="134373"/>
                  <a:pt x="8236609" y="131117"/>
                </a:cubicBezTo>
                <a:cubicBezTo>
                  <a:pt x="8239930" y="128643"/>
                  <a:pt x="8242111" y="125615"/>
                  <a:pt x="8243153" y="122034"/>
                </a:cubicBezTo>
                <a:cubicBezTo>
                  <a:pt x="8243869" y="119690"/>
                  <a:pt x="8244227" y="115230"/>
                  <a:pt x="8244227" y="108654"/>
                </a:cubicBezTo>
                <a:close/>
                <a:moveTo>
                  <a:pt x="7587002" y="103184"/>
                </a:moveTo>
                <a:cubicBezTo>
                  <a:pt x="7583486" y="104356"/>
                  <a:pt x="7577919" y="105756"/>
                  <a:pt x="7570301" y="107384"/>
                </a:cubicBezTo>
                <a:cubicBezTo>
                  <a:pt x="7562683" y="109012"/>
                  <a:pt x="7557701" y="110607"/>
                  <a:pt x="7555357" y="112170"/>
                </a:cubicBezTo>
                <a:cubicBezTo>
                  <a:pt x="7551776" y="114709"/>
                  <a:pt x="7549986" y="117932"/>
                  <a:pt x="7549986" y="121839"/>
                </a:cubicBezTo>
                <a:cubicBezTo>
                  <a:pt x="7549986" y="125680"/>
                  <a:pt x="7551418" y="129001"/>
                  <a:pt x="7554283" y="131801"/>
                </a:cubicBezTo>
                <a:cubicBezTo>
                  <a:pt x="7557148" y="134601"/>
                  <a:pt x="7560794" y="136001"/>
                  <a:pt x="7565222" y="136001"/>
                </a:cubicBezTo>
                <a:cubicBezTo>
                  <a:pt x="7570170" y="136001"/>
                  <a:pt x="7574891" y="134373"/>
                  <a:pt x="7579384" y="131117"/>
                </a:cubicBezTo>
                <a:cubicBezTo>
                  <a:pt x="7582705" y="128643"/>
                  <a:pt x="7584886" y="125615"/>
                  <a:pt x="7585928" y="122034"/>
                </a:cubicBezTo>
                <a:cubicBezTo>
                  <a:pt x="7586644" y="119690"/>
                  <a:pt x="7587002" y="115230"/>
                  <a:pt x="7587002" y="108654"/>
                </a:cubicBezTo>
                <a:close/>
                <a:moveTo>
                  <a:pt x="8996167" y="69293"/>
                </a:moveTo>
                <a:cubicBezTo>
                  <a:pt x="8989005" y="69293"/>
                  <a:pt x="8982982" y="72028"/>
                  <a:pt x="8978098" y="77497"/>
                </a:cubicBezTo>
                <a:cubicBezTo>
                  <a:pt x="8973215" y="82967"/>
                  <a:pt x="8970773" y="90845"/>
                  <a:pt x="8970773" y="101133"/>
                </a:cubicBezTo>
                <a:cubicBezTo>
                  <a:pt x="8970773" y="111421"/>
                  <a:pt x="8973215" y="119299"/>
                  <a:pt x="8978098" y="124769"/>
                </a:cubicBezTo>
                <a:cubicBezTo>
                  <a:pt x="8982982" y="130238"/>
                  <a:pt x="8989005" y="132973"/>
                  <a:pt x="8996167" y="132973"/>
                </a:cubicBezTo>
                <a:cubicBezTo>
                  <a:pt x="9003329" y="132973"/>
                  <a:pt x="9009336" y="130238"/>
                  <a:pt x="9014187" y="124769"/>
                </a:cubicBezTo>
                <a:cubicBezTo>
                  <a:pt x="9019038" y="119299"/>
                  <a:pt x="9021463" y="111356"/>
                  <a:pt x="9021463" y="100938"/>
                </a:cubicBezTo>
                <a:cubicBezTo>
                  <a:pt x="9021463" y="90780"/>
                  <a:pt x="9019038" y="82967"/>
                  <a:pt x="9014187" y="77497"/>
                </a:cubicBezTo>
                <a:cubicBezTo>
                  <a:pt x="9009336" y="72028"/>
                  <a:pt x="9003329" y="69293"/>
                  <a:pt x="8996167" y="69293"/>
                </a:cubicBezTo>
                <a:close/>
                <a:moveTo>
                  <a:pt x="7338817" y="69293"/>
                </a:moveTo>
                <a:cubicBezTo>
                  <a:pt x="7331655" y="69293"/>
                  <a:pt x="7325632" y="72028"/>
                  <a:pt x="7320748" y="77497"/>
                </a:cubicBezTo>
                <a:cubicBezTo>
                  <a:pt x="7315865" y="82967"/>
                  <a:pt x="7313423" y="90845"/>
                  <a:pt x="7313423" y="101133"/>
                </a:cubicBezTo>
                <a:cubicBezTo>
                  <a:pt x="7313423" y="111421"/>
                  <a:pt x="7315865" y="119299"/>
                  <a:pt x="7320748" y="124769"/>
                </a:cubicBezTo>
                <a:cubicBezTo>
                  <a:pt x="7325632" y="130238"/>
                  <a:pt x="7331655" y="132973"/>
                  <a:pt x="7338817" y="132973"/>
                </a:cubicBezTo>
                <a:cubicBezTo>
                  <a:pt x="7345980" y="132973"/>
                  <a:pt x="7351986" y="130238"/>
                  <a:pt x="7356837" y="124769"/>
                </a:cubicBezTo>
                <a:cubicBezTo>
                  <a:pt x="7361688" y="119299"/>
                  <a:pt x="7364113" y="111356"/>
                  <a:pt x="7364113" y="100938"/>
                </a:cubicBezTo>
                <a:cubicBezTo>
                  <a:pt x="7364113" y="90780"/>
                  <a:pt x="7361688" y="82967"/>
                  <a:pt x="7356837" y="77497"/>
                </a:cubicBezTo>
                <a:cubicBezTo>
                  <a:pt x="7351986" y="72028"/>
                  <a:pt x="7345980" y="69293"/>
                  <a:pt x="7338817" y="69293"/>
                </a:cubicBezTo>
                <a:close/>
                <a:moveTo>
                  <a:pt x="5294711" y="69293"/>
                </a:moveTo>
                <a:cubicBezTo>
                  <a:pt x="5287549" y="69293"/>
                  <a:pt x="5281526" y="72028"/>
                  <a:pt x="5276643" y="77497"/>
                </a:cubicBezTo>
                <a:cubicBezTo>
                  <a:pt x="5271759" y="82967"/>
                  <a:pt x="5269317" y="90845"/>
                  <a:pt x="5269317" y="101133"/>
                </a:cubicBezTo>
                <a:cubicBezTo>
                  <a:pt x="5269317" y="111421"/>
                  <a:pt x="5271759" y="119299"/>
                  <a:pt x="5276643" y="124769"/>
                </a:cubicBezTo>
                <a:cubicBezTo>
                  <a:pt x="5281526" y="130238"/>
                  <a:pt x="5287549" y="132973"/>
                  <a:pt x="5294711" y="132973"/>
                </a:cubicBezTo>
                <a:cubicBezTo>
                  <a:pt x="5301874" y="132973"/>
                  <a:pt x="5307880" y="130238"/>
                  <a:pt x="5312731" y="124769"/>
                </a:cubicBezTo>
                <a:cubicBezTo>
                  <a:pt x="5317582" y="119299"/>
                  <a:pt x="5320008" y="111356"/>
                  <a:pt x="5320008" y="100938"/>
                </a:cubicBezTo>
                <a:cubicBezTo>
                  <a:pt x="5320008" y="90780"/>
                  <a:pt x="5317582" y="82967"/>
                  <a:pt x="5312731" y="77497"/>
                </a:cubicBezTo>
                <a:cubicBezTo>
                  <a:pt x="5307880" y="72028"/>
                  <a:pt x="5301874" y="69293"/>
                  <a:pt x="5294711" y="69293"/>
                </a:cubicBezTo>
                <a:close/>
                <a:moveTo>
                  <a:pt x="1123303" y="69293"/>
                </a:moveTo>
                <a:cubicBezTo>
                  <a:pt x="1116141" y="69293"/>
                  <a:pt x="1110118" y="72028"/>
                  <a:pt x="1105235" y="77497"/>
                </a:cubicBezTo>
                <a:cubicBezTo>
                  <a:pt x="1100351" y="82967"/>
                  <a:pt x="1097910" y="90845"/>
                  <a:pt x="1097910" y="101133"/>
                </a:cubicBezTo>
                <a:cubicBezTo>
                  <a:pt x="1097910" y="111421"/>
                  <a:pt x="1100351" y="119299"/>
                  <a:pt x="1105235" y="124769"/>
                </a:cubicBezTo>
                <a:cubicBezTo>
                  <a:pt x="1110118" y="130238"/>
                  <a:pt x="1116141" y="132973"/>
                  <a:pt x="1123303" y="132973"/>
                </a:cubicBezTo>
                <a:cubicBezTo>
                  <a:pt x="1130466" y="132973"/>
                  <a:pt x="1136472" y="130238"/>
                  <a:pt x="1141323" y="124769"/>
                </a:cubicBezTo>
                <a:cubicBezTo>
                  <a:pt x="1146174" y="119299"/>
                  <a:pt x="1148600" y="111356"/>
                  <a:pt x="1148600" y="100938"/>
                </a:cubicBezTo>
                <a:cubicBezTo>
                  <a:pt x="1148600" y="90780"/>
                  <a:pt x="1146174" y="82967"/>
                  <a:pt x="1141323" y="77497"/>
                </a:cubicBezTo>
                <a:cubicBezTo>
                  <a:pt x="1136472" y="72028"/>
                  <a:pt x="1130466" y="69293"/>
                  <a:pt x="1123303" y="69293"/>
                </a:cubicBezTo>
                <a:close/>
                <a:moveTo>
                  <a:pt x="8827256" y="68610"/>
                </a:moveTo>
                <a:cubicBezTo>
                  <a:pt x="8820550" y="68610"/>
                  <a:pt x="8814983" y="71198"/>
                  <a:pt x="8810555" y="76374"/>
                </a:cubicBezTo>
                <a:cubicBezTo>
                  <a:pt x="8806128" y="81551"/>
                  <a:pt x="8803914" y="89218"/>
                  <a:pt x="8803914" y="99375"/>
                </a:cubicBezTo>
                <a:cubicBezTo>
                  <a:pt x="8803914" y="111030"/>
                  <a:pt x="8806225" y="119641"/>
                  <a:pt x="8810848" y="125208"/>
                </a:cubicBezTo>
                <a:cubicBezTo>
                  <a:pt x="8815471" y="130775"/>
                  <a:pt x="8821103" y="133559"/>
                  <a:pt x="8827745" y="133559"/>
                </a:cubicBezTo>
                <a:cubicBezTo>
                  <a:pt x="8834126" y="133559"/>
                  <a:pt x="8839432" y="131003"/>
                  <a:pt x="8843665" y="125892"/>
                </a:cubicBezTo>
                <a:cubicBezTo>
                  <a:pt x="8847897" y="120781"/>
                  <a:pt x="8850013" y="112398"/>
                  <a:pt x="8850013" y="100742"/>
                </a:cubicBezTo>
                <a:cubicBezTo>
                  <a:pt x="8850013" y="89869"/>
                  <a:pt x="8847832" y="81795"/>
                  <a:pt x="8843469" y="76521"/>
                </a:cubicBezTo>
                <a:cubicBezTo>
                  <a:pt x="8839107" y="71247"/>
                  <a:pt x="8833703" y="68610"/>
                  <a:pt x="8827256" y="68610"/>
                </a:cubicBezTo>
                <a:close/>
                <a:moveTo>
                  <a:pt x="7865232" y="68610"/>
                </a:moveTo>
                <a:cubicBezTo>
                  <a:pt x="7858525" y="68610"/>
                  <a:pt x="7852958" y="71198"/>
                  <a:pt x="7848530" y="76374"/>
                </a:cubicBezTo>
                <a:cubicBezTo>
                  <a:pt x="7844103" y="81551"/>
                  <a:pt x="7841889" y="89218"/>
                  <a:pt x="7841889" y="99375"/>
                </a:cubicBezTo>
                <a:cubicBezTo>
                  <a:pt x="7841889" y="111030"/>
                  <a:pt x="7844200" y="119641"/>
                  <a:pt x="7848823" y="125208"/>
                </a:cubicBezTo>
                <a:cubicBezTo>
                  <a:pt x="7853446" y="130775"/>
                  <a:pt x="7859078" y="133559"/>
                  <a:pt x="7865720" y="133559"/>
                </a:cubicBezTo>
                <a:cubicBezTo>
                  <a:pt x="7872101" y="133559"/>
                  <a:pt x="7877408" y="131003"/>
                  <a:pt x="7881640" y="125892"/>
                </a:cubicBezTo>
                <a:cubicBezTo>
                  <a:pt x="7885872" y="120781"/>
                  <a:pt x="7887988" y="112398"/>
                  <a:pt x="7887988" y="100742"/>
                </a:cubicBezTo>
                <a:cubicBezTo>
                  <a:pt x="7887988" y="89869"/>
                  <a:pt x="7885807" y="81795"/>
                  <a:pt x="7881444" y="76521"/>
                </a:cubicBezTo>
                <a:cubicBezTo>
                  <a:pt x="7877082" y="71247"/>
                  <a:pt x="7871678" y="68610"/>
                  <a:pt x="7865232" y="68610"/>
                </a:cubicBezTo>
                <a:close/>
                <a:moveTo>
                  <a:pt x="5125801" y="68610"/>
                </a:moveTo>
                <a:cubicBezTo>
                  <a:pt x="5119094" y="68610"/>
                  <a:pt x="5113527" y="71198"/>
                  <a:pt x="5109099" y="76374"/>
                </a:cubicBezTo>
                <a:cubicBezTo>
                  <a:pt x="5104672" y="81551"/>
                  <a:pt x="5102458" y="89218"/>
                  <a:pt x="5102458" y="99375"/>
                </a:cubicBezTo>
                <a:cubicBezTo>
                  <a:pt x="5102458" y="111030"/>
                  <a:pt x="5104769" y="119641"/>
                  <a:pt x="5109392" y="125208"/>
                </a:cubicBezTo>
                <a:cubicBezTo>
                  <a:pt x="5114015" y="130775"/>
                  <a:pt x="5119648" y="133559"/>
                  <a:pt x="5126289" y="133559"/>
                </a:cubicBezTo>
                <a:cubicBezTo>
                  <a:pt x="5132670" y="133559"/>
                  <a:pt x="5137977" y="131003"/>
                  <a:pt x="5142209" y="125892"/>
                </a:cubicBezTo>
                <a:cubicBezTo>
                  <a:pt x="5146441" y="120781"/>
                  <a:pt x="5148557" y="112398"/>
                  <a:pt x="5148557" y="100742"/>
                </a:cubicBezTo>
                <a:cubicBezTo>
                  <a:pt x="5148557" y="89869"/>
                  <a:pt x="5146376" y="81795"/>
                  <a:pt x="5142014" y="76521"/>
                </a:cubicBezTo>
                <a:cubicBezTo>
                  <a:pt x="5137651" y="71247"/>
                  <a:pt x="5132247" y="68610"/>
                  <a:pt x="5125801" y="68610"/>
                </a:cubicBezTo>
                <a:close/>
                <a:moveTo>
                  <a:pt x="4230451" y="68610"/>
                </a:moveTo>
                <a:cubicBezTo>
                  <a:pt x="4223744" y="68610"/>
                  <a:pt x="4218177" y="71198"/>
                  <a:pt x="4213749" y="76374"/>
                </a:cubicBezTo>
                <a:cubicBezTo>
                  <a:pt x="4209322" y="81551"/>
                  <a:pt x="4207108" y="89218"/>
                  <a:pt x="4207108" y="99375"/>
                </a:cubicBezTo>
                <a:cubicBezTo>
                  <a:pt x="4207108" y="111030"/>
                  <a:pt x="4209419" y="119641"/>
                  <a:pt x="4214042" y="125208"/>
                </a:cubicBezTo>
                <a:cubicBezTo>
                  <a:pt x="4218665" y="130775"/>
                  <a:pt x="4224298" y="133559"/>
                  <a:pt x="4230939" y="133559"/>
                </a:cubicBezTo>
                <a:cubicBezTo>
                  <a:pt x="4237320" y="133559"/>
                  <a:pt x="4242627" y="131003"/>
                  <a:pt x="4246859" y="125892"/>
                </a:cubicBezTo>
                <a:cubicBezTo>
                  <a:pt x="4251091" y="120781"/>
                  <a:pt x="4253207" y="112398"/>
                  <a:pt x="4253207" y="100742"/>
                </a:cubicBezTo>
                <a:cubicBezTo>
                  <a:pt x="4253207" y="89869"/>
                  <a:pt x="4251026" y="81795"/>
                  <a:pt x="4246664" y="76521"/>
                </a:cubicBezTo>
                <a:cubicBezTo>
                  <a:pt x="4242301" y="71247"/>
                  <a:pt x="4236897" y="68610"/>
                  <a:pt x="4230451" y="68610"/>
                </a:cubicBezTo>
                <a:close/>
                <a:moveTo>
                  <a:pt x="954393" y="68610"/>
                </a:moveTo>
                <a:cubicBezTo>
                  <a:pt x="947686" y="68610"/>
                  <a:pt x="942119" y="71198"/>
                  <a:pt x="937692" y="76374"/>
                </a:cubicBezTo>
                <a:cubicBezTo>
                  <a:pt x="933264" y="81551"/>
                  <a:pt x="931050" y="89218"/>
                  <a:pt x="931050" y="99375"/>
                </a:cubicBezTo>
                <a:cubicBezTo>
                  <a:pt x="931050" y="111030"/>
                  <a:pt x="933362" y="119641"/>
                  <a:pt x="937984" y="125208"/>
                </a:cubicBezTo>
                <a:cubicBezTo>
                  <a:pt x="942608" y="130775"/>
                  <a:pt x="948240" y="133559"/>
                  <a:pt x="954881" y="133559"/>
                </a:cubicBezTo>
                <a:cubicBezTo>
                  <a:pt x="961262" y="133559"/>
                  <a:pt x="966569" y="131003"/>
                  <a:pt x="970801" y="125892"/>
                </a:cubicBezTo>
                <a:cubicBezTo>
                  <a:pt x="975034" y="120781"/>
                  <a:pt x="977150" y="112398"/>
                  <a:pt x="977150" y="100742"/>
                </a:cubicBezTo>
                <a:cubicBezTo>
                  <a:pt x="977150" y="89869"/>
                  <a:pt x="974969" y="81795"/>
                  <a:pt x="970606" y="76521"/>
                </a:cubicBezTo>
                <a:cubicBezTo>
                  <a:pt x="966243" y="71247"/>
                  <a:pt x="960839" y="68610"/>
                  <a:pt x="954393" y="68610"/>
                </a:cubicBezTo>
                <a:close/>
                <a:moveTo>
                  <a:pt x="9399784" y="67926"/>
                </a:moveTo>
                <a:cubicBezTo>
                  <a:pt x="9393794" y="67926"/>
                  <a:pt x="9388846" y="70107"/>
                  <a:pt x="9384939" y="74470"/>
                </a:cubicBezTo>
                <a:cubicBezTo>
                  <a:pt x="9381032" y="78832"/>
                  <a:pt x="9379111" y="84757"/>
                  <a:pt x="9379176" y="92245"/>
                </a:cubicBezTo>
                <a:lnTo>
                  <a:pt x="9420197" y="92245"/>
                </a:lnTo>
                <a:cubicBezTo>
                  <a:pt x="9420002" y="84302"/>
                  <a:pt x="9417951" y="78262"/>
                  <a:pt x="9414044" y="74128"/>
                </a:cubicBezTo>
                <a:cubicBezTo>
                  <a:pt x="9410137" y="69993"/>
                  <a:pt x="9405384" y="67926"/>
                  <a:pt x="9399784" y="67926"/>
                </a:cubicBezTo>
                <a:close/>
                <a:moveTo>
                  <a:pt x="8704459" y="67926"/>
                </a:moveTo>
                <a:cubicBezTo>
                  <a:pt x="8698469" y="67926"/>
                  <a:pt x="8693520" y="70107"/>
                  <a:pt x="8689614" y="74470"/>
                </a:cubicBezTo>
                <a:cubicBezTo>
                  <a:pt x="8685707" y="78832"/>
                  <a:pt x="8683786" y="84757"/>
                  <a:pt x="8683851" y="92245"/>
                </a:cubicBezTo>
                <a:lnTo>
                  <a:pt x="8724872" y="92245"/>
                </a:lnTo>
                <a:cubicBezTo>
                  <a:pt x="8724677" y="84302"/>
                  <a:pt x="8722626" y="78262"/>
                  <a:pt x="8718719" y="74128"/>
                </a:cubicBezTo>
                <a:cubicBezTo>
                  <a:pt x="8714812" y="69993"/>
                  <a:pt x="8710059" y="67926"/>
                  <a:pt x="8704459" y="67926"/>
                </a:cubicBezTo>
                <a:close/>
                <a:moveTo>
                  <a:pt x="8584248" y="67926"/>
                </a:moveTo>
                <a:cubicBezTo>
                  <a:pt x="8577737" y="67926"/>
                  <a:pt x="8572284" y="70514"/>
                  <a:pt x="8567889" y="75690"/>
                </a:cubicBezTo>
                <a:cubicBezTo>
                  <a:pt x="8563494" y="80867"/>
                  <a:pt x="8561296" y="88599"/>
                  <a:pt x="8561296" y="98887"/>
                </a:cubicBezTo>
                <a:cubicBezTo>
                  <a:pt x="8561296" y="109956"/>
                  <a:pt x="8562826" y="117965"/>
                  <a:pt x="8565886" y="122913"/>
                </a:cubicBezTo>
                <a:cubicBezTo>
                  <a:pt x="8570314" y="130076"/>
                  <a:pt x="8576500" y="133657"/>
                  <a:pt x="8584443" y="133657"/>
                </a:cubicBezTo>
                <a:cubicBezTo>
                  <a:pt x="8590759" y="133657"/>
                  <a:pt x="8596131" y="130971"/>
                  <a:pt x="8600559" y="125599"/>
                </a:cubicBezTo>
                <a:cubicBezTo>
                  <a:pt x="8604986" y="120227"/>
                  <a:pt x="8607200" y="112202"/>
                  <a:pt x="8607200" y="101524"/>
                </a:cubicBezTo>
                <a:cubicBezTo>
                  <a:pt x="8607200" y="89608"/>
                  <a:pt x="8605051" y="81030"/>
                  <a:pt x="8600754" y="75788"/>
                </a:cubicBezTo>
                <a:cubicBezTo>
                  <a:pt x="8596457" y="70547"/>
                  <a:pt x="8590955" y="67926"/>
                  <a:pt x="8584248" y="67926"/>
                </a:cubicBezTo>
                <a:close/>
                <a:moveTo>
                  <a:pt x="8409184" y="67926"/>
                </a:moveTo>
                <a:cubicBezTo>
                  <a:pt x="8403194" y="67926"/>
                  <a:pt x="8398245" y="70107"/>
                  <a:pt x="8394339" y="74470"/>
                </a:cubicBezTo>
                <a:cubicBezTo>
                  <a:pt x="8390432" y="78832"/>
                  <a:pt x="8388511" y="84757"/>
                  <a:pt x="8388576" y="92245"/>
                </a:cubicBezTo>
                <a:lnTo>
                  <a:pt x="8429597" y="92245"/>
                </a:lnTo>
                <a:cubicBezTo>
                  <a:pt x="8429402" y="84302"/>
                  <a:pt x="8427351" y="78262"/>
                  <a:pt x="8423444" y="74128"/>
                </a:cubicBezTo>
                <a:cubicBezTo>
                  <a:pt x="8419537" y="69993"/>
                  <a:pt x="8414784" y="67926"/>
                  <a:pt x="8409184" y="67926"/>
                </a:cubicBezTo>
                <a:close/>
                <a:moveTo>
                  <a:pt x="5698328" y="67926"/>
                </a:moveTo>
                <a:cubicBezTo>
                  <a:pt x="5692338" y="67926"/>
                  <a:pt x="5687390" y="70107"/>
                  <a:pt x="5683483" y="74470"/>
                </a:cubicBezTo>
                <a:cubicBezTo>
                  <a:pt x="5679576" y="78832"/>
                  <a:pt x="5677655" y="84757"/>
                  <a:pt x="5677720" y="92245"/>
                </a:cubicBezTo>
                <a:lnTo>
                  <a:pt x="5718741" y="92245"/>
                </a:lnTo>
                <a:cubicBezTo>
                  <a:pt x="5718546" y="84302"/>
                  <a:pt x="5716495" y="78262"/>
                  <a:pt x="5712588" y="74128"/>
                </a:cubicBezTo>
                <a:cubicBezTo>
                  <a:pt x="5708681" y="69993"/>
                  <a:pt x="5703928" y="67926"/>
                  <a:pt x="5698328" y="67926"/>
                </a:cubicBezTo>
                <a:close/>
                <a:moveTo>
                  <a:pt x="5003003" y="67926"/>
                </a:moveTo>
                <a:cubicBezTo>
                  <a:pt x="4997013" y="67926"/>
                  <a:pt x="4992065" y="70107"/>
                  <a:pt x="4988158" y="74470"/>
                </a:cubicBezTo>
                <a:cubicBezTo>
                  <a:pt x="4984251" y="78832"/>
                  <a:pt x="4982330" y="84757"/>
                  <a:pt x="4982395" y="92245"/>
                </a:cubicBezTo>
                <a:lnTo>
                  <a:pt x="5023416" y="92245"/>
                </a:lnTo>
                <a:cubicBezTo>
                  <a:pt x="5023221" y="84302"/>
                  <a:pt x="5021170" y="78262"/>
                  <a:pt x="5017263" y="74128"/>
                </a:cubicBezTo>
                <a:cubicBezTo>
                  <a:pt x="5013356" y="69993"/>
                  <a:pt x="5008603" y="67926"/>
                  <a:pt x="5003003" y="67926"/>
                </a:cubicBezTo>
                <a:close/>
                <a:moveTo>
                  <a:pt x="4882792" y="67926"/>
                </a:moveTo>
                <a:cubicBezTo>
                  <a:pt x="4876281" y="67926"/>
                  <a:pt x="4870828" y="70514"/>
                  <a:pt x="4866433" y="75690"/>
                </a:cubicBezTo>
                <a:cubicBezTo>
                  <a:pt x="4862038" y="80867"/>
                  <a:pt x="4859840" y="88599"/>
                  <a:pt x="4859840" y="98887"/>
                </a:cubicBezTo>
                <a:cubicBezTo>
                  <a:pt x="4859840" y="109956"/>
                  <a:pt x="4861370" y="117965"/>
                  <a:pt x="4864431" y="122913"/>
                </a:cubicBezTo>
                <a:cubicBezTo>
                  <a:pt x="4868858" y="130076"/>
                  <a:pt x="4875044" y="133657"/>
                  <a:pt x="4882988" y="133657"/>
                </a:cubicBezTo>
                <a:cubicBezTo>
                  <a:pt x="4889304" y="133657"/>
                  <a:pt x="4894675" y="130971"/>
                  <a:pt x="4899103" y="125599"/>
                </a:cubicBezTo>
                <a:cubicBezTo>
                  <a:pt x="4903530" y="120227"/>
                  <a:pt x="4905744" y="112202"/>
                  <a:pt x="4905744" y="101524"/>
                </a:cubicBezTo>
                <a:cubicBezTo>
                  <a:pt x="4905744" y="89608"/>
                  <a:pt x="4903596" y="81030"/>
                  <a:pt x="4899298" y="75788"/>
                </a:cubicBezTo>
                <a:cubicBezTo>
                  <a:pt x="4895001" y="70547"/>
                  <a:pt x="4889499" y="67926"/>
                  <a:pt x="4882792" y="67926"/>
                </a:cubicBezTo>
                <a:close/>
                <a:moveTo>
                  <a:pt x="4477417" y="67926"/>
                </a:moveTo>
                <a:cubicBezTo>
                  <a:pt x="4470841" y="67926"/>
                  <a:pt x="4465371" y="70481"/>
                  <a:pt x="4461009" y="75593"/>
                </a:cubicBezTo>
                <a:cubicBezTo>
                  <a:pt x="4456646" y="80704"/>
                  <a:pt x="4454465" y="88469"/>
                  <a:pt x="4454465" y="98887"/>
                </a:cubicBezTo>
                <a:cubicBezTo>
                  <a:pt x="4454465" y="109630"/>
                  <a:pt x="4456158" y="117574"/>
                  <a:pt x="4459544" y="122718"/>
                </a:cubicBezTo>
                <a:cubicBezTo>
                  <a:pt x="4464297" y="130010"/>
                  <a:pt x="4470613" y="133657"/>
                  <a:pt x="4478491" y="133657"/>
                </a:cubicBezTo>
                <a:cubicBezTo>
                  <a:pt x="4484547" y="133657"/>
                  <a:pt x="4489707" y="131069"/>
                  <a:pt x="4493972" y="125892"/>
                </a:cubicBezTo>
                <a:cubicBezTo>
                  <a:pt x="4498237" y="120716"/>
                  <a:pt x="4500369" y="112560"/>
                  <a:pt x="4500369" y="101426"/>
                </a:cubicBezTo>
                <a:cubicBezTo>
                  <a:pt x="4500369" y="89576"/>
                  <a:pt x="4498220" y="81030"/>
                  <a:pt x="4493923" y="75788"/>
                </a:cubicBezTo>
                <a:cubicBezTo>
                  <a:pt x="4489626" y="70547"/>
                  <a:pt x="4484124" y="67926"/>
                  <a:pt x="4477417" y="67926"/>
                </a:cubicBezTo>
                <a:close/>
                <a:moveTo>
                  <a:pt x="3812379" y="67926"/>
                </a:moveTo>
                <a:cubicBezTo>
                  <a:pt x="3806388" y="67926"/>
                  <a:pt x="3801440" y="70107"/>
                  <a:pt x="3797533" y="74470"/>
                </a:cubicBezTo>
                <a:cubicBezTo>
                  <a:pt x="3793626" y="78832"/>
                  <a:pt x="3791705" y="84757"/>
                  <a:pt x="3791771" y="92245"/>
                </a:cubicBezTo>
                <a:lnTo>
                  <a:pt x="3832791" y="92245"/>
                </a:lnTo>
                <a:cubicBezTo>
                  <a:pt x="3832596" y="84302"/>
                  <a:pt x="3830545" y="78262"/>
                  <a:pt x="3826638" y="74128"/>
                </a:cubicBezTo>
                <a:cubicBezTo>
                  <a:pt x="3822731" y="69993"/>
                  <a:pt x="3817978" y="67926"/>
                  <a:pt x="3812379" y="67926"/>
                </a:cubicBezTo>
                <a:close/>
                <a:moveTo>
                  <a:pt x="1526921" y="67926"/>
                </a:moveTo>
                <a:cubicBezTo>
                  <a:pt x="1520931" y="67926"/>
                  <a:pt x="1515982" y="70107"/>
                  <a:pt x="1512075" y="74470"/>
                </a:cubicBezTo>
                <a:cubicBezTo>
                  <a:pt x="1508168" y="78832"/>
                  <a:pt x="1506248" y="84757"/>
                  <a:pt x="1506312" y="92245"/>
                </a:cubicBezTo>
                <a:lnTo>
                  <a:pt x="1547333" y="92245"/>
                </a:lnTo>
                <a:cubicBezTo>
                  <a:pt x="1547138" y="84302"/>
                  <a:pt x="1545087" y="78262"/>
                  <a:pt x="1541180" y="74128"/>
                </a:cubicBezTo>
                <a:cubicBezTo>
                  <a:pt x="1537274" y="69993"/>
                  <a:pt x="1532520" y="67926"/>
                  <a:pt x="1526921" y="67926"/>
                </a:cubicBezTo>
                <a:close/>
                <a:moveTo>
                  <a:pt x="831596" y="67926"/>
                </a:moveTo>
                <a:cubicBezTo>
                  <a:pt x="825605" y="67926"/>
                  <a:pt x="820657" y="70107"/>
                  <a:pt x="816750" y="74470"/>
                </a:cubicBezTo>
                <a:cubicBezTo>
                  <a:pt x="812843" y="78832"/>
                  <a:pt x="810923" y="84757"/>
                  <a:pt x="810988" y="92245"/>
                </a:cubicBezTo>
                <a:lnTo>
                  <a:pt x="852008" y="92245"/>
                </a:lnTo>
                <a:cubicBezTo>
                  <a:pt x="851813" y="84302"/>
                  <a:pt x="849762" y="78262"/>
                  <a:pt x="845855" y="74128"/>
                </a:cubicBezTo>
                <a:cubicBezTo>
                  <a:pt x="841948" y="69993"/>
                  <a:pt x="837195" y="67926"/>
                  <a:pt x="831596" y="67926"/>
                </a:cubicBezTo>
                <a:close/>
                <a:moveTo>
                  <a:pt x="711384" y="67926"/>
                </a:moveTo>
                <a:cubicBezTo>
                  <a:pt x="704873" y="67926"/>
                  <a:pt x="699420" y="70514"/>
                  <a:pt x="695025" y="75690"/>
                </a:cubicBezTo>
                <a:cubicBezTo>
                  <a:pt x="690630" y="80867"/>
                  <a:pt x="688432" y="88599"/>
                  <a:pt x="688432" y="98887"/>
                </a:cubicBezTo>
                <a:cubicBezTo>
                  <a:pt x="688432" y="109956"/>
                  <a:pt x="689962" y="117965"/>
                  <a:pt x="693023" y="122913"/>
                </a:cubicBezTo>
                <a:cubicBezTo>
                  <a:pt x="697450" y="130076"/>
                  <a:pt x="703636" y="133657"/>
                  <a:pt x="711580" y="133657"/>
                </a:cubicBezTo>
                <a:cubicBezTo>
                  <a:pt x="717896" y="133657"/>
                  <a:pt x="723267" y="130971"/>
                  <a:pt x="727695" y="125599"/>
                </a:cubicBezTo>
                <a:cubicBezTo>
                  <a:pt x="732123" y="120227"/>
                  <a:pt x="734337" y="112202"/>
                  <a:pt x="734337" y="101524"/>
                </a:cubicBezTo>
                <a:cubicBezTo>
                  <a:pt x="734337" y="89608"/>
                  <a:pt x="732188" y="81030"/>
                  <a:pt x="727890" y="75788"/>
                </a:cubicBezTo>
                <a:cubicBezTo>
                  <a:pt x="723593" y="70547"/>
                  <a:pt x="718091" y="67926"/>
                  <a:pt x="711384" y="67926"/>
                </a:cubicBezTo>
                <a:close/>
                <a:moveTo>
                  <a:pt x="306009" y="67926"/>
                </a:moveTo>
                <a:cubicBezTo>
                  <a:pt x="299433" y="67926"/>
                  <a:pt x="293963" y="70481"/>
                  <a:pt x="289601" y="75593"/>
                </a:cubicBezTo>
                <a:cubicBezTo>
                  <a:pt x="285238" y="80704"/>
                  <a:pt x="283057" y="88469"/>
                  <a:pt x="283057" y="98887"/>
                </a:cubicBezTo>
                <a:cubicBezTo>
                  <a:pt x="283057" y="109630"/>
                  <a:pt x="284750" y="117574"/>
                  <a:pt x="288136" y="122718"/>
                </a:cubicBezTo>
                <a:cubicBezTo>
                  <a:pt x="292889" y="130010"/>
                  <a:pt x="299205" y="133657"/>
                  <a:pt x="307084" y="133657"/>
                </a:cubicBezTo>
                <a:cubicBezTo>
                  <a:pt x="313139" y="133657"/>
                  <a:pt x="318299" y="131069"/>
                  <a:pt x="322564" y="125892"/>
                </a:cubicBezTo>
                <a:cubicBezTo>
                  <a:pt x="326829" y="120716"/>
                  <a:pt x="328961" y="112560"/>
                  <a:pt x="328961" y="101426"/>
                </a:cubicBezTo>
                <a:cubicBezTo>
                  <a:pt x="328961" y="89576"/>
                  <a:pt x="326813" y="81030"/>
                  <a:pt x="322515" y="75788"/>
                </a:cubicBezTo>
                <a:cubicBezTo>
                  <a:pt x="318218" y="70547"/>
                  <a:pt x="312716" y="67926"/>
                  <a:pt x="306009" y="67926"/>
                </a:cubicBezTo>
                <a:close/>
                <a:moveTo>
                  <a:pt x="9059828" y="49271"/>
                </a:moveTo>
                <a:lnTo>
                  <a:pt x="9089031" y="49271"/>
                </a:lnTo>
                <a:lnTo>
                  <a:pt x="9113839" y="122913"/>
                </a:lnTo>
                <a:lnTo>
                  <a:pt x="9138061" y="49271"/>
                </a:lnTo>
                <a:lnTo>
                  <a:pt x="9166482" y="49271"/>
                </a:lnTo>
                <a:lnTo>
                  <a:pt x="9129857" y="149088"/>
                </a:lnTo>
                <a:lnTo>
                  <a:pt x="9123313" y="167157"/>
                </a:lnTo>
                <a:cubicBezTo>
                  <a:pt x="9120904" y="173212"/>
                  <a:pt x="9118608" y="177835"/>
                  <a:pt x="9116427" y="181026"/>
                </a:cubicBezTo>
                <a:cubicBezTo>
                  <a:pt x="9114246" y="184216"/>
                  <a:pt x="9111739" y="186805"/>
                  <a:pt x="9108907" y="188791"/>
                </a:cubicBezTo>
                <a:cubicBezTo>
                  <a:pt x="9106074" y="190776"/>
                  <a:pt x="9102591" y="192323"/>
                  <a:pt x="9098456" y="193430"/>
                </a:cubicBezTo>
                <a:cubicBezTo>
                  <a:pt x="9094322" y="194537"/>
                  <a:pt x="9089650" y="195090"/>
                  <a:pt x="9084441" y="195090"/>
                </a:cubicBezTo>
                <a:cubicBezTo>
                  <a:pt x="9079167" y="195090"/>
                  <a:pt x="9073990" y="194537"/>
                  <a:pt x="9068912" y="193430"/>
                </a:cubicBezTo>
                <a:lnTo>
                  <a:pt x="9066470" y="171943"/>
                </a:lnTo>
                <a:cubicBezTo>
                  <a:pt x="9070767" y="172789"/>
                  <a:pt x="9074641" y="173212"/>
                  <a:pt x="9078092" y="173212"/>
                </a:cubicBezTo>
                <a:cubicBezTo>
                  <a:pt x="9084473" y="173212"/>
                  <a:pt x="9089194" y="171340"/>
                  <a:pt x="9092254" y="167597"/>
                </a:cubicBezTo>
                <a:cubicBezTo>
                  <a:pt x="9095314" y="163853"/>
                  <a:pt x="9097658" y="159083"/>
                  <a:pt x="9099286" y="153288"/>
                </a:cubicBezTo>
                <a:close/>
                <a:moveTo>
                  <a:pt x="8049885" y="49271"/>
                </a:moveTo>
                <a:lnTo>
                  <a:pt x="8078698" y="49271"/>
                </a:lnTo>
                <a:lnTo>
                  <a:pt x="8098231" y="102207"/>
                </a:lnTo>
                <a:lnTo>
                  <a:pt x="8103896" y="119885"/>
                </a:lnTo>
                <a:cubicBezTo>
                  <a:pt x="8105394" y="115393"/>
                  <a:pt x="8106338" y="112430"/>
                  <a:pt x="8106728" y="110998"/>
                </a:cubicBezTo>
                <a:cubicBezTo>
                  <a:pt x="8107640" y="108068"/>
                  <a:pt x="8108617" y="105138"/>
                  <a:pt x="8109658" y="102207"/>
                </a:cubicBezTo>
                <a:lnTo>
                  <a:pt x="8129388" y="49271"/>
                </a:lnTo>
                <a:lnTo>
                  <a:pt x="8157614" y="49271"/>
                </a:lnTo>
                <a:lnTo>
                  <a:pt x="8116398" y="152995"/>
                </a:lnTo>
                <a:lnTo>
                  <a:pt x="8091688" y="152995"/>
                </a:lnTo>
                <a:close/>
                <a:moveTo>
                  <a:pt x="8015543" y="49271"/>
                </a:moveTo>
                <a:lnTo>
                  <a:pt x="8042988" y="49271"/>
                </a:lnTo>
                <a:lnTo>
                  <a:pt x="8042988" y="152995"/>
                </a:lnTo>
                <a:lnTo>
                  <a:pt x="8015543" y="152995"/>
                </a:lnTo>
                <a:close/>
                <a:moveTo>
                  <a:pt x="5358373" y="49271"/>
                </a:moveTo>
                <a:lnTo>
                  <a:pt x="5387576" y="49271"/>
                </a:lnTo>
                <a:lnTo>
                  <a:pt x="5412383" y="122913"/>
                </a:lnTo>
                <a:lnTo>
                  <a:pt x="5436605" y="49271"/>
                </a:lnTo>
                <a:lnTo>
                  <a:pt x="5465026" y="49271"/>
                </a:lnTo>
                <a:lnTo>
                  <a:pt x="5428401" y="149088"/>
                </a:lnTo>
                <a:lnTo>
                  <a:pt x="5421857" y="167157"/>
                </a:lnTo>
                <a:cubicBezTo>
                  <a:pt x="5419448" y="173212"/>
                  <a:pt x="5417153" y="177835"/>
                  <a:pt x="5414971" y="181026"/>
                </a:cubicBezTo>
                <a:cubicBezTo>
                  <a:pt x="5412790" y="184216"/>
                  <a:pt x="5410283" y="186805"/>
                  <a:pt x="5407451" y="188791"/>
                </a:cubicBezTo>
                <a:cubicBezTo>
                  <a:pt x="5404619" y="190776"/>
                  <a:pt x="5401135" y="192323"/>
                  <a:pt x="5397000" y="193430"/>
                </a:cubicBezTo>
                <a:cubicBezTo>
                  <a:pt x="5392866" y="194537"/>
                  <a:pt x="5388194" y="195090"/>
                  <a:pt x="5382985" y="195090"/>
                </a:cubicBezTo>
                <a:cubicBezTo>
                  <a:pt x="5377711" y="195090"/>
                  <a:pt x="5372535" y="194537"/>
                  <a:pt x="5367456" y="193430"/>
                </a:cubicBezTo>
                <a:lnTo>
                  <a:pt x="5365014" y="171943"/>
                </a:lnTo>
                <a:cubicBezTo>
                  <a:pt x="5369311" y="172789"/>
                  <a:pt x="5373186" y="173212"/>
                  <a:pt x="5376636" y="173212"/>
                </a:cubicBezTo>
                <a:cubicBezTo>
                  <a:pt x="5383018" y="173212"/>
                  <a:pt x="5387738" y="171340"/>
                  <a:pt x="5390798" y="167597"/>
                </a:cubicBezTo>
                <a:cubicBezTo>
                  <a:pt x="5393859" y="163853"/>
                  <a:pt x="5396203" y="159083"/>
                  <a:pt x="5397831" y="153288"/>
                </a:cubicBezTo>
                <a:close/>
                <a:moveTo>
                  <a:pt x="4599837" y="49271"/>
                </a:moveTo>
                <a:lnTo>
                  <a:pt x="4627282" y="49271"/>
                </a:lnTo>
                <a:lnTo>
                  <a:pt x="4627282" y="152995"/>
                </a:lnTo>
                <a:lnTo>
                  <a:pt x="4599837" y="152995"/>
                </a:lnTo>
                <a:close/>
                <a:moveTo>
                  <a:pt x="4303976" y="49271"/>
                </a:moveTo>
                <a:lnTo>
                  <a:pt x="4331421" y="49271"/>
                </a:lnTo>
                <a:lnTo>
                  <a:pt x="4331421" y="96933"/>
                </a:lnTo>
                <a:cubicBezTo>
                  <a:pt x="4331421" y="111519"/>
                  <a:pt x="4331926" y="120455"/>
                  <a:pt x="4332935" y="123743"/>
                </a:cubicBezTo>
                <a:cubicBezTo>
                  <a:pt x="4333944" y="127032"/>
                  <a:pt x="4335784" y="129636"/>
                  <a:pt x="4338453" y="131557"/>
                </a:cubicBezTo>
                <a:cubicBezTo>
                  <a:pt x="4341123" y="133478"/>
                  <a:pt x="4344509" y="134438"/>
                  <a:pt x="4348611" y="134438"/>
                </a:cubicBezTo>
                <a:cubicBezTo>
                  <a:pt x="4353299" y="134438"/>
                  <a:pt x="4357499" y="133152"/>
                  <a:pt x="4361210" y="130580"/>
                </a:cubicBezTo>
                <a:cubicBezTo>
                  <a:pt x="4364922" y="128008"/>
                  <a:pt x="4367461" y="124818"/>
                  <a:pt x="4368828" y="121009"/>
                </a:cubicBezTo>
                <a:cubicBezTo>
                  <a:pt x="4370196" y="117200"/>
                  <a:pt x="4370879" y="107872"/>
                  <a:pt x="4370879" y="93027"/>
                </a:cubicBezTo>
                <a:lnTo>
                  <a:pt x="4370879" y="49271"/>
                </a:lnTo>
                <a:lnTo>
                  <a:pt x="4398324" y="49271"/>
                </a:lnTo>
                <a:lnTo>
                  <a:pt x="4398324" y="152995"/>
                </a:lnTo>
                <a:lnTo>
                  <a:pt x="4372833" y="152995"/>
                </a:lnTo>
                <a:lnTo>
                  <a:pt x="4372833" y="137466"/>
                </a:lnTo>
                <a:cubicBezTo>
                  <a:pt x="4369056" y="143000"/>
                  <a:pt x="4364091" y="147363"/>
                  <a:pt x="4357938" y="150553"/>
                </a:cubicBezTo>
                <a:cubicBezTo>
                  <a:pt x="4351785" y="153744"/>
                  <a:pt x="4345290" y="155339"/>
                  <a:pt x="4338453" y="155339"/>
                </a:cubicBezTo>
                <a:cubicBezTo>
                  <a:pt x="4331486" y="155339"/>
                  <a:pt x="4325236" y="153809"/>
                  <a:pt x="4319701" y="150749"/>
                </a:cubicBezTo>
                <a:cubicBezTo>
                  <a:pt x="4314167" y="147688"/>
                  <a:pt x="4310162" y="143391"/>
                  <a:pt x="4307688" y="137856"/>
                </a:cubicBezTo>
                <a:cubicBezTo>
                  <a:pt x="4305214" y="132322"/>
                  <a:pt x="4303976" y="124671"/>
                  <a:pt x="4303976" y="114904"/>
                </a:cubicBezTo>
                <a:close/>
                <a:moveTo>
                  <a:pt x="4066437" y="49271"/>
                </a:moveTo>
                <a:lnTo>
                  <a:pt x="4093882" y="49271"/>
                </a:lnTo>
                <a:lnTo>
                  <a:pt x="4093882" y="152995"/>
                </a:lnTo>
                <a:lnTo>
                  <a:pt x="4066437" y="152995"/>
                </a:lnTo>
                <a:close/>
                <a:moveTo>
                  <a:pt x="1186965" y="49271"/>
                </a:moveTo>
                <a:lnTo>
                  <a:pt x="1216168" y="49271"/>
                </a:lnTo>
                <a:lnTo>
                  <a:pt x="1240975" y="122913"/>
                </a:lnTo>
                <a:lnTo>
                  <a:pt x="1265197" y="49271"/>
                </a:lnTo>
                <a:lnTo>
                  <a:pt x="1293619" y="49271"/>
                </a:lnTo>
                <a:lnTo>
                  <a:pt x="1256993" y="149088"/>
                </a:lnTo>
                <a:lnTo>
                  <a:pt x="1250449" y="167157"/>
                </a:lnTo>
                <a:cubicBezTo>
                  <a:pt x="1248040" y="173212"/>
                  <a:pt x="1245745" y="177835"/>
                  <a:pt x="1243564" y="181026"/>
                </a:cubicBezTo>
                <a:cubicBezTo>
                  <a:pt x="1241382" y="184216"/>
                  <a:pt x="1238875" y="186805"/>
                  <a:pt x="1236043" y="188791"/>
                </a:cubicBezTo>
                <a:cubicBezTo>
                  <a:pt x="1233211" y="190776"/>
                  <a:pt x="1229727" y="192323"/>
                  <a:pt x="1225593" y="193430"/>
                </a:cubicBezTo>
                <a:cubicBezTo>
                  <a:pt x="1221458" y="194537"/>
                  <a:pt x="1216786" y="195090"/>
                  <a:pt x="1211577" y="195090"/>
                </a:cubicBezTo>
                <a:cubicBezTo>
                  <a:pt x="1206303" y="195090"/>
                  <a:pt x="1201127" y="194537"/>
                  <a:pt x="1196048" y="193430"/>
                </a:cubicBezTo>
                <a:lnTo>
                  <a:pt x="1193606" y="171943"/>
                </a:lnTo>
                <a:cubicBezTo>
                  <a:pt x="1197904" y="172789"/>
                  <a:pt x="1201778" y="173212"/>
                  <a:pt x="1205229" y="173212"/>
                </a:cubicBezTo>
                <a:cubicBezTo>
                  <a:pt x="1211610" y="173212"/>
                  <a:pt x="1216330" y="171340"/>
                  <a:pt x="1219390" y="167597"/>
                </a:cubicBezTo>
                <a:cubicBezTo>
                  <a:pt x="1222451" y="163853"/>
                  <a:pt x="1224795" y="159083"/>
                  <a:pt x="1226423" y="153288"/>
                </a:cubicBezTo>
                <a:close/>
                <a:moveTo>
                  <a:pt x="428430" y="49271"/>
                </a:moveTo>
                <a:lnTo>
                  <a:pt x="455874" y="49271"/>
                </a:lnTo>
                <a:lnTo>
                  <a:pt x="455874" y="152995"/>
                </a:lnTo>
                <a:lnTo>
                  <a:pt x="428430" y="152995"/>
                </a:lnTo>
                <a:close/>
                <a:moveTo>
                  <a:pt x="132569" y="49271"/>
                </a:moveTo>
                <a:lnTo>
                  <a:pt x="160014" y="49271"/>
                </a:lnTo>
                <a:lnTo>
                  <a:pt x="160014" y="96933"/>
                </a:lnTo>
                <a:cubicBezTo>
                  <a:pt x="160014" y="111519"/>
                  <a:pt x="160518" y="120455"/>
                  <a:pt x="161527" y="123743"/>
                </a:cubicBezTo>
                <a:cubicBezTo>
                  <a:pt x="162537" y="127032"/>
                  <a:pt x="164376" y="129636"/>
                  <a:pt x="167046" y="131557"/>
                </a:cubicBezTo>
                <a:cubicBezTo>
                  <a:pt x="169715" y="133478"/>
                  <a:pt x="173101" y="134438"/>
                  <a:pt x="177203" y="134438"/>
                </a:cubicBezTo>
                <a:cubicBezTo>
                  <a:pt x="181891" y="134438"/>
                  <a:pt x="186091" y="133152"/>
                  <a:pt x="189802" y="130580"/>
                </a:cubicBezTo>
                <a:cubicBezTo>
                  <a:pt x="193514" y="128008"/>
                  <a:pt x="196053" y="124818"/>
                  <a:pt x="197420" y="121009"/>
                </a:cubicBezTo>
                <a:cubicBezTo>
                  <a:pt x="198788" y="117200"/>
                  <a:pt x="199471" y="107872"/>
                  <a:pt x="199471" y="93027"/>
                </a:cubicBezTo>
                <a:lnTo>
                  <a:pt x="199471" y="49271"/>
                </a:lnTo>
                <a:lnTo>
                  <a:pt x="226916" y="49271"/>
                </a:lnTo>
                <a:lnTo>
                  <a:pt x="226916" y="152995"/>
                </a:lnTo>
                <a:lnTo>
                  <a:pt x="201425" y="152995"/>
                </a:lnTo>
                <a:lnTo>
                  <a:pt x="201425" y="137466"/>
                </a:lnTo>
                <a:cubicBezTo>
                  <a:pt x="197648" y="143000"/>
                  <a:pt x="192684" y="147363"/>
                  <a:pt x="186530" y="150553"/>
                </a:cubicBezTo>
                <a:cubicBezTo>
                  <a:pt x="180377" y="153744"/>
                  <a:pt x="173882" y="155339"/>
                  <a:pt x="167046" y="155339"/>
                </a:cubicBezTo>
                <a:cubicBezTo>
                  <a:pt x="160078" y="155339"/>
                  <a:pt x="153828" y="153809"/>
                  <a:pt x="148293" y="150749"/>
                </a:cubicBezTo>
                <a:cubicBezTo>
                  <a:pt x="142759" y="147688"/>
                  <a:pt x="138754" y="143391"/>
                  <a:pt x="136280" y="137856"/>
                </a:cubicBezTo>
                <a:cubicBezTo>
                  <a:pt x="133806" y="132322"/>
                  <a:pt x="132569" y="124671"/>
                  <a:pt x="132569" y="114904"/>
                </a:cubicBezTo>
                <a:close/>
                <a:moveTo>
                  <a:pt x="9532348" y="46927"/>
                </a:moveTo>
                <a:cubicBezTo>
                  <a:pt x="9538404" y="46927"/>
                  <a:pt x="9543938" y="48018"/>
                  <a:pt x="9548952" y="50199"/>
                </a:cubicBezTo>
                <a:cubicBezTo>
                  <a:pt x="9553966" y="52380"/>
                  <a:pt x="9557758" y="55164"/>
                  <a:pt x="9560330" y="58550"/>
                </a:cubicBezTo>
                <a:cubicBezTo>
                  <a:pt x="9562902" y="61936"/>
                  <a:pt x="9564693" y="65777"/>
                  <a:pt x="9565702" y="70075"/>
                </a:cubicBezTo>
                <a:cubicBezTo>
                  <a:pt x="9566712" y="74372"/>
                  <a:pt x="9567216" y="80525"/>
                  <a:pt x="9567216" y="88534"/>
                </a:cubicBezTo>
                <a:lnTo>
                  <a:pt x="9567216" y="152995"/>
                </a:lnTo>
                <a:lnTo>
                  <a:pt x="9539771" y="152995"/>
                </a:lnTo>
                <a:lnTo>
                  <a:pt x="9539771" y="100059"/>
                </a:lnTo>
                <a:cubicBezTo>
                  <a:pt x="9539771" y="88859"/>
                  <a:pt x="9539185" y="81616"/>
                  <a:pt x="9538013" y="78328"/>
                </a:cubicBezTo>
                <a:cubicBezTo>
                  <a:pt x="9536841" y="75039"/>
                  <a:pt x="9534937" y="72484"/>
                  <a:pt x="9532300" y="70661"/>
                </a:cubicBezTo>
                <a:cubicBezTo>
                  <a:pt x="9529662" y="68837"/>
                  <a:pt x="9526488" y="67926"/>
                  <a:pt x="9522777" y="67926"/>
                </a:cubicBezTo>
                <a:cubicBezTo>
                  <a:pt x="9518024" y="67926"/>
                  <a:pt x="9513759" y="69228"/>
                  <a:pt x="9509982" y="71833"/>
                </a:cubicBezTo>
                <a:cubicBezTo>
                  <a:pt x="9506206" y="74437"/>
                  <a:pt x="9503618" y="77888"/>
                  <a:pt x="9502218" y="82185"/>
                </a:cubicBezTo>
                <a:cubicBezTo>
                  <a:pt x="9500818" y="86483"/>
                  <a:pt x="9500118" y="94427"/>
                  <a:pt x="9500118" y="106017"/>
                </a:cubicBezTo>
                <a:lnTo>
                  <a:pt x="9500118" y="152995"/>
                </a:lnTo>
                <a:lnTo>
                  <a:pt x="9472673" y="152995"/>
                </a:lnTo>
                <a:lnTo>
                  <a:pt x="9472673" y="49271"/>
                </a:lnTo>
                <a:lnTo>
                  <a:pt x="9498164" y="49271"/>
                </a:lnTo>
                <a:lnTo>
                  <a:pt x="9498164" y="64507"/>
                </a:lnTo>
                <a:cubicBezTo>
                  <a:pt x="9507215" y="52787"/>
                  <a:pt x="9518610" y="46927"/>
                  <a:pt x="9532348" y="46927"/>
                </a:cubicBezTo>
                <a:close/>
                <a:moveTo>
                  <a:pt x="9398124" y="46927"/>
                </a:moveTo>
                <a:cubicBezTo>
                  <a:pt x="9413556" y="46927"/>
                  <a:pt x="9425732" y="52022"/>
                  <a:pt x="9434652" y="62212"/>
                </a:cubicBezTo>
                <a:cubicBezTo>
                  <a:pt x="9443572" y="72402"/>
                  <a:pt x="9447837" y="88013"/>
                  <a:pt x="9447446" y="109044"/>
                </a:cubicBezTo>
                <a:lnTo>
                  <a:pt x="9378688" y="109044"/>
                </a:lnTo>
                <a:cubicBezTo>
                  <a:pt x="9378883" y="117183"/>
                  <a:pt x="9381097" y="123515"/>
                  <a:pt x="9385329" y="128041"/>
                </a:cubicBezTo>
                <a:cubicBezTo>
                  <a:pt x="9389562" y="132566"/>
                  <a:pt x="9394836" y="134829"/>
                  <a:pt x="9401152" y="134829"/>
                </a:cubicBezTo>
                <a:cubicBezTo>
                  <a:pt x="9405449" y="134829"/>
                  <a:pt x="9409063" y="133657"/>
                  <a:pt x="9411993" y="131313"/>
                </a:cubicBezTo>
                <a:cubicBezTo>
                  <a:pt x="9414923" y="128969"/>
                  <a:pt x="9417137" y="125192"/>
                  <a:pt x="9418634" y="119983"/>
                </a:cubicBezTo>
                <a:lnTo>
                  <a:pt x="9445982" y="124574"/>
                </a:lnTo>
                <a:cubicBezTo>
                  <a:pt x="9442466" y="134601"/>
                  <a:pt x="9436914" y="142235"/>
                  <a:pt x="9429329" y="147477"/>
                </a:cubicBezTo>
                <a:cubicBezTo>
                  <a:pt x="9421744" y="152718"/>
                  <a:pt x="9412253" y="155339"/>
                  <a:pt x="9400859" y="155339"/>
                </a:cubicBezTo>
                <a:cubicBezTo>
                  <a:pt x="9382822" y="155339"/>
                  <a:pt x="9369474" y="149446"/>
                  <a:pt x="9360814" y="137661"/>
                </a:cubicBezTo>
                <a:cubicBezTo>
                  <a:pt x="9353978" y="128220"/>
                  <a:pt x="9350560" y="116304"/>
                  <a:pt x="9350560" y="101914"/>
                </a:cubicBezTo>
                <a:cubicBezTo>
                  <a:pt x="9350560" y="84725"/>
                  <a:pt x="9355052" y="71263"/>
                  <a:pt x="9364038" y="61529"/>
                </a:cubicBezTo>
                <a:cubicBezTo>
                  <a:pt x="9373023" y="51794"/>
                  <a:pt x="9384385" y="46927"/>
                  <a:pt x="9398124" y="46927"/>
                </a:cubicBezTo>
                <a:close/>
                <a:moveTo>
                  <a:pt x="9233166" y="46927"/>
                </a:moveTo>
                <a:cubicBezTo>
                  <a:pt x="9239808" y="46927"/>
                  <a:pt x="9245570" y="48294"/>
                  <a:pt x="9250454" y="51029"/>
                </a:cubicBezTo>
                <a:cubicBezTo>
                  <a:pt x="9255337" y="53764"/>
                  <a:pt x="9259342" y="57899"/>
                  <a:pt x="9262467" y="63433"/>
                </a:cubicBezTo>
                <a:cubicBezTo>
                  <a:pt x="9267025" y="57899"/>
                  <a:pt x="9271941" y="53764"/>
                  <a:pt x="9277215" y="51029"/>
                </a:cubicBezTo>
                <a:cubicBezTo>
                  <a:pt x="9282489" y="48294"/>
                  <a:pt x="9288121" y="46927"/>
                  <a:pt x="9294112" y="46927"/>
                </a:cubicBezTo>
                <a:cubicBezTo>
                  <a:pt x="9301730" y="46927"/>
                  <a:pt x="9308176" y="48474"/>
                  <a:pt x="9313450" y="51566"/>
                </a:cubicBezTo>
                <a:cubicBezTo>
                  <a:pt x="9318724" y="54659"/>
                  <a:pt x="9322664" y="59201"/>
                  <a:pt x="9325268" y="65191"/>
                </a:cubicBezTo>
                <a:cubicBezTo>
                  <a:pt x="9327156" y="69619"/>
                  <a:pt x="9328100" y="76781"/>
                  <a:pt x="9328100" y="86678"/>
                </a:cubicBezTo>
                <a:lnTo>
                  <a:pt x="9328100" y="152995"/>
                </a:lnTo>
                <a:lnTo>
                  <a:pt x="9300656" y="152995"/>
                </a:lnTo>
                <a:lnTo>
                  <a:pt x="9300656" y="93710"/>
                </a:lnTo>
                <a:cubicBezTo>
                  <a:pt x="9300656" y="83423"/>
                  <a:pt x="9299711" y="76781"/>
                  <a:pt x="9297823" y="73786"/>
                </a:cubicBezTo>
                <a:cubicBezTo>
                  <a:pt x="9295284" y="69879"/>
                  <a:pt x="9291377" y="67926"/>
                  <a:pt x="9286103" y="67926"/>
                </a:cubicBezTo>
                <a:cubicBezTo>
                  <a:pt x="9282261" y="67926"/>
                  <a:pt x="9278648" y="69098"/>
                  <a:pt x="9275262" y="71442"/>
                </a:cubicBezTo>
                <a:cubicBezTo>
                  <a:pt x="9271876" y="73786"/>
                  <a:pt x="9269434" y="77221"/>
                  <a:pt x="9267936" y="81746"/>
                </a:cubicBezTo>
                <a:cubicBezTo>
                  <a:pt x="9266439" y="86271"/>
                  <a:pt x="9265690" y="93417"/>
                  <a:pt x="9265690" y="103184"/>
                </a:cubicBezTo>
                <a:lnTo>
                  <a:pt x="9265690" y="152995"/>
                </a:lnTo>
                <a:lnTo>
                  <a:pt x="9238245" y="152995"/>
                </a:lnTo>
                <a:lnTo>
                  <a:pt x="9238245" y="96152"/>
                </a:lnTo>
                <a:cubicBezTo>
                  <a:pt x="9238245" y="86060"/>
                  <a:pt x="9237757" y="79548"/>
                  <a:pt x="9236780" y="76618"/>
                </a:cubicBezTo>
                <a:cubicBezTo>
                  <a:pt x="9235804" y="73688"/>
                  <a:pt x="9234290" y="71507"/>
                  <a:pt x="9232239" y="70075"/>
                </a:cubicBezTo>
                <a:cubicBezTo>
                  <a:pt x="9230188" y="68642"/>
                  <a:pt x="9227404" y="67926"/>
                  <a:pt x="9223888" y="67926"/>
                </a:cubicBezTo>
                <a:cubicBezTo>
                  <a:pt x="9219656" y="67926"/>
                  <a:pt x="9215847" y="69065"/>
                  <a:pt x="9212461" y="71344"/>
                </a:cubicBezTo>
                <a:cubicBezTo>
                  <a:pt x="9209075" y="73623"/>
                  <a:pt x="9206650" y="76911"/>
                  <a:pt x="9205184" y="81209"/>
                </a:cubicBezTo>
                <a:cubicBezTo>
                  <a:pt x="9203720" y="85506"/>
                  <a:pt x="9202987" y="92636"/>
                  <a:pt x="9202987" y="102598"/>
                </a:cubicBezTo>
                <a:lnTo>
                  <a:pt x="9202987" y="152995"/>
                </a:lnTo>
                <a:lnTo>
                  <a:pt x="9175542" y="152995"/>
                </a:lnTo>
                <a:lnTo>
                  <a:pt x="9175542" y="49271"/>
                </a:lnTo>
                <a:lnTo>
                  <a:pt x="9200838" y="49271"/>
                </a:lnTo>
                <a:lnTo>
                  <a:pt x="9200838" y="63433"/>
                </a:lnTo>
                <a:cubicBezTo>
                  <a:pt x="9209889" y="52429"/>
                  <a:pt x="9220665" y="46927"/>
                  <a:pt x="9233166" y="46927"/>
                </a:cubicBezTo>
                <a:close/>
                <a:moveTo>
                  <a:pt x="8996069" y="46927"/>
                </a:moveTo>
                <a:cubicBezTo>
                  <a:pt x="9011762" y="46927"/>
                  <a:pt x="9024621" y="52022"/>
                  <a:pt x="9034648" y="62212"/>
                </a:cubicBezTo>
                <a:cubicBezTo>
                  <a:pt x="9044676" y="72402"/>
                  <a:pt x="9049689" y="85278"/>
                  <a:pt x="9049689" y="100840"/>
                </a:cubicBezTo>
                <a:cubicBezTo>
                  <a:pt x="9049689" y="116532"/>
                  <a:pt x="9044627" y="129538"/>
                  <a:pt x="9034502" y="139859"/>
                </a:cubicBezTo>
                <a:cubicBezTo>
                  <a:pt x="9024377" y="150179"/>
                  <a:pt x="9011631" y="155339"/>
                  <a:pt x="8996265" y="155339"/>
                </a:cubicBezTo>
                <a:cubicBezTo>
                  <a:pt x="8986758" y="155339"/>
                  <a:pt x="8977692" y="153190"/>
                  <a:pt x="8969064" y="148893"/>
                </a:cubicBezTo>
                <a:cubicBezTo>
                  <a:pt x="8960437" y="144596"/>
                  <a:pt x="8953877" y="138296"/>
                  <a:pt x="8949384" y="129994"/>
                </a:cubicBezTo>
                <a:cubicBezTo>
                  <a:pt x="8944891" y="121692"/>
                  <a:pt x="8942645" y="111584"/>
                  <a:pt x="8942645" y="99668"/>
                </a:cubicBezTo>
                <a:cubicBezTo>
                  <a:pt x="8942645" y="90552"/>
                  <a:pt x="8944891" y="81730"/>
                  <a:pt x="8949384" y="73200"/>
                </a:cubicBezTo>
                <a:cubicBezTo>
                  <a:pt x="8953877" y="64670"/>
                  <a:pt x="8960241" y="58159"/>
                  <a:pt x="8968478" y="53666"/>
                </a:cubicBezTo>
                <a:cubicBezTo>
                  <a:pt x="8976715" y="49173"/>
                  <a:pt x="8985912" y="46927"/>
                  <a:pt x="8996069" y="46927"/>
                </a:cubicBezTo>
                <a:close/>
                <a:moveTo>
                  <a:pt x="8834679" y="46927"/>
                </a:moveTo>
                <a:cubicBezTo>
                  <a:pt x="8846725" y="46927"/>
                  <a:pt x="8856948" y="51648"/>
                  <a:pt x="8865347" y="61089"/>
                </a:cubicBezTo>
                <a:cubicBezTo>
                  <a:pt x="8873747" y="70530"/>
                  <a:pt x="8877946" y="83683"/>
                  <a:pt x="8877946" y="100547"/>
                </a:cubicBezTo>
                <a:cubicBezTo>
                  <a:pt x="8877946" y="117867"/>
                  <a:pt x="8873714" y="131329"/>
                  <a:pt x="8865250" y="140933"/>
                </a:cubicBezTo>
                <a:cubicBezTo>
                  <a:pt x="8856785" y="150537"/>
                  <a:pt x="8846530" y="155339"/>
                  <a:pt x="8834484" y="155339"/>
                </a:cubicBezTo>
                <a:cubicBezTo>
                  <a:pt x="8828754" y="155339"/>
                  <a:pt x="8823561" y="154200"/>
                  <a:pt x="8818906" y="151921"/>
                </a:cubicBezTo>
                <a:cubicBezTo>
                  <a:pt x="8814250" y="149642"/>
                  <a:pt x="8809351" y="145735"/>
                  <a:pt x="8804207" y="140201"/>
                </a:cubicBezTo>
                <a:lnTo>
                  <a:pt x="8804207" y="192453"/>
                </a:lnTo>
                <a:lnTo>
                  <a:pt x="8776762" y="192453"/>
                </a:lnTo>
                <a:lnTo>
                  <a:pt x="8776762" y="49271"/>
                </a:lnTo>
                <a:lnTo>
                  <a:pt x="8802351" y="49271"/>
                </a:lnTo>
                <a:lnTo>
                  <a:pt x="8802351" y="64507"/>
                </a:lnTo>
                <a:cubicBezTo>
                  <a:pt x="8805672" y="59298"/>
                  <a:pt x="8810164" y="55066"/>
                  <a:pt x="8815829" y="51811"/>
                </a:cubicBezTo>
                <a:cubicBezTo>
                  <a:pt x="8821494" y="48555"/>
                  <a:pt x="8827777" y="46927"/>
                  <a:pt x="8834679" y="46927"/>
                </a:cubicBezTo>
                <a:close/>
                <a:moveTo>
                  <a:pt x="8702799" y="46927"/>
                </a:moveTo>
                <a:cubicBezTo>
                  <a:pt x="8718230" y="46927"/>
                  <a:pt x="8730407" y="52022"/>
                  <a:pt x="8739327" y="62212"/>
                </a:cubicBezTo>
                <a:cubicBezTo>
                  <a:pt x="8748247" y="72402"/>
                  <a:pt x="8752512" y="88013"/>
                  <a:pt x="8752122" y="109044"/>
                </a:cubicBezTo>
                <a:lnTo>
                  <a:pt x="8683363" y="109044"/>
                </a:lnTo>
                <a:cubicBezTo>
                  <a:pt x="8683558" y="117183"/>
                  <a:pt x="8685772" y="123515"/>
                  <a:pt x="8690004" y="128041"/>
                </a:cubicBezTo>
                <a:cubicBezTo>
                  <a:pt x="8694237" y="132566"/>
                  <a:pt x="8699511" y="134829"/>
                  <a:pt x="8705827" y="134829"/>
                </a:cubicBezTo>
                <a:cubicBezTo>
                  <a:pt x="8710124" y="134829"/>
                  <a:pt x="8713738" y="133657"/>
                  <a:pt x="8716668" y="131313"/>
                </a:cubicBezTo>
                <a:cubicBezTo>
                  <a:pt x="8719598" y="128969"/>
                  <a:pt x="8721812" y="125192"/>
                  <a:pt x="8723309" y="119983"/>
                </a:cubicBezTo>
                <a:lnTo>
                  <a:pt x="8750656" y="124574"/>
                </a:lnTo>
                <a:cubicBezTo>
                  <a:pt x="8747140" y="134601"/>
                  <a:pt x="8741590" y="142235"/>
                  <a:pt x="8734004" y="147477"/>
                </a:cubicBezTo>
                <a:cubicBezTo>
                  <a:pt x="8726418" y="152718"/>
                  <a:pt x="8716928" y="155339"/>
                  <a:pt x="8705534" y="155339"/>
                </a:cubicBezTo>
                <a:cubicBezTo>
                  <a:pt x="8687498" y="155339"/>
                  <a:pt x="8674150" y="149446"/>
                  <a:pt x="8665490" y="137661"/>
                </a:cubicBezTo>
                <a:cubicBezTo>
                  <a:pt x="8658653" y="128220"/>
                  <a:pt x="8655234" y="116304"/>
                  <a:pt x="8655234" y="101914"/>
                </a:cubicBezTo>
                <a:cubicBezTo>
                  <a:pt x="8655234" y="84725"/>
                  <a:pt x="8659727" y="71263"/>
                  <a:pt x="8668713" y="61529"/>
                </a:cubicBezTo>
                <a:cubicBezTo>
                  <a:pt x="8677698" y="51794"/>
                  <a:pt x="8689060" y="46927"/>
                  <a:pt x="8702799" y="46927"/>
                </a:cubicBezTo>
                <a:close/>
                <a:moveTo>
                  <a:pt x="8407524" y="46927"/>
                </a:moveTo>
                <a:cubicBezTo>
                  <a:pt x="8422956" y="46927"/>
                  <a:pt x="8435132" y="52022"/>
                  <a:pt x="8444052" y="62212"/>
                </a:cubicBezTo>
                <a:cubicBezTo>
                  <a:pt x="8452972" y="72402"/>
                  <a:pt x="8457237" y="88013"/>
                  <a:pt x="8456846" y="109044"/>
                </a:cubicBezTo>
                <a:lnTo>
                  <a:pt x="8388088" y="109044"/>
                </a:lnTo>
                <a:cubicBezTo>
                  <a:pt x="8388283" y="117183"/>
                  <a:pt x="8390497" y="123515"/>
                  <a:pt x="8394730" y="128041"/>
                </a:cubicBezTo>
                <a:cubicBezTo>
                  <a:pt x="8398962" y="132566"/>
                  <a:pt x="8404236" y="134829"/>
                  <a:pt x="8410552" y="134829"/>
                </a:cubicBezTo>
                <a:cubicBezTo>
                  <a:pt x="8414849" y="134829"/>
                  <a:pt x="8418463" y="133657"/>
                  <a:pt x="8421393" y="131313"/>
                </a:cubicBezTo>
                <a:cubicBezTo>
                  <a:pt x="8424323" y="128969"/>
                  <a:pt x="8426537" y="125192"/>
                  <a:pt x="8428034" y="119983"/>
                </a:cubicBezTo>
                <a:lnTo>
                  <a:pt x="8455382" y="124574"/>
                </a:lnTo>
                <a:cubicBezTo>
                  <a:pt x="8451866" y="134601"/>
                  <a:pt x="8446315" y="142235"/>
                  <a:pt x="8438729" y="147477"/>
                </a:cubicBezTo>
                <a:cubicBezTo>
                  <a:pt x="8431143" y="152718"/>
                  <a:pt x="8421653" y="155339"/>
                  <a:pt x="8410259" y="155339"/>
                </a:cubicBezTo>
                <a:cubicBezTo>
                  <a:pt x="8392222" y="155339"/>
                  <a:pt x="8378874" y="149446"/>
                  <a:pt x="8370215" y="137661"/>
                </a:cubicBezTo>
                <a:cubicBezTo>
                  <a:pt x="8363378" y="128220"/>
                  <a:pt x="8359959" y="116304"/>
                  <a:pt x="8359959" y="101914"/>
                </a:cubicBezTo>
                <a:cubicBezTo>
                  <a:pt x="8359959" y="84725"/>
                  <a:pt x="8364452" y="71263"/>
                  <a:pt x="8373438" y="61529"/>
                </a:cubicBezTo>
                <a:cubicBezTo>
                  <a:pt x="8382423" y="51794"/>
                  <a:pt x="8393785" y="46927"/>
                  <a:pt x="8407524" y="46927"/>
                </a:cubicBezTo>
                <a:close/>
                <a:moveTo>
                  <a:pt x="8227526" y="46927"/>
                </a:moveTo>
                <a:cubicBezTo>
                  <a:pt x="8239767" y="46927"/>
                  <a:pt x="8248882" y="48376"/>
                  <a:pt x="8254873" y="51273"/>
                </a:cubicBezTo>
                <a:cubicBezTo>
                  <a:pt x="8260863" y="54171"/>
                  <a:pt x="8265079" y="57850"/>
                  <a:pt x="8267521" y="62310"/>
                </a:cubicBezTo>
                <a:cubicBezTo>
                  <a:pt x="8269963" y="66770"/>
                  <a:pt x="8271184" y="74958"/>
                  <a:pt x="8271184" y="86874"/>
                </a:cubicBezTo>
                <a:lnTo>
                  <a:pt x="8270890" y="118909"/>
                </a:lnTo>
                <a:cubicBezTo>
                  <a:pt x="8270890" y="128025"/>
                  <a:pt x="8271330" y="134747"/>
                  <a:pt x="8272209" y="139077"/>
                </a:cubicBezTo>
                <a:cubicBezTo>
                  <a:pt x="8273088" y="143407"/>
                  <a:pt x="8274732" y="148047"/>
                  <a:pt x="8277141" y="152995"/>
                </a:cubicBezTo>
                <a:lnTo>
                  <a:pt x="8249990" y="152995"/>
                </a:lnTo>
                <a:cubicBezTo>
                  <a:pt x="8249273" y="151172"/>
                  <a:pt x="8248394" y="148470"/>
                  <a:pt x="8247352" y="144889"/>
                </a:cubicBezTo>
                <a:cubicBezTo>
                  <a:pt x="8246897" y="143261"/>
                  <a:pt x="8246571" y="142186"/>
                  <a:pt x="8246376" y="141666"/>
                </a:cubicBezTo>
                <a:cubicBezTo>
                  <a:pt x="8241688" y="146223"/>
                  <a:pt x="8236674" y="149642"/>
                  <a:pt x="8231335" y="151921"/>
                </a:cubicBezTo>
                <a:cubicBezTo>
                  <a:pt x="8225996" y="154200"/>
                  <a:pt x="8220298" y="155339"/>
                  <a:pt x="8214243" y="155339"/>
                </a:cubicBezTo>
                <a:cubicBezTo>
                  <a:pt x="8203564" y="155339"/>
                  <a:pt x="8195149" y="152442"/>
                  <a:pt x="8188996" y="146647"/>
                </a:cubicBezTo>
                <a:cubicBezTo>
                  <a:pt x="8182842" y="140852"/>
                  <a:pt x="8179766" y="133526"/>
                  <a:pt x="8179766" y="124671"/>
                </a:cubicBezTo>
                <a:cubicBezTo>
                  <a:pt x="8179766" y="118811"/>
                  <a:pt x="8181166" y="113586"/>
                  <a:pt x="8183966" y="108995"/>
                </a:cubicBezTo>
                <a:cubicBezTo>
                  <a:pt x="8186765" y="104405"/>
                  <a:pt x="8190688" y="100889"/>
                  <a:pt x="8195735" y="98447"/>
                </a:cubicBezTo>
                <a:cubicBezTo>
                  <a:pt x="8200781" y="96006"/>
                  <a:pt x="8208057" y="93873"/>
                  <a:pt x="8217564" y="92050"/>
                </a:cubicBezTo>
                <a:cubicBezTo>
                  <a:pt x="8230391" y="89641"/>
                  <a:pt x="8239278" y="87394"/>
                  <a:pt x="8244227" y="85311"/>
                </a:cubicBezTo>
                <a:lnTo>
                  <a:pt x="8244227" y="82576"/>
                </a:lnTo>
                <a:cubicBezTo>
                  <a:pt x="8244227" y="77302"/>
                  <a:pt x="8242925" y="73542"/>
                  <a:pt x="8240320" y="71295"/>
                </a:cubicBezTo>
                <a:cubicBezTo>
                  <a:pt x="8237716" y="69049"/>
                  <a:pt x="8232800" y="67926"/>
                  <a:pt x="8225572" y="67926"/>
                </a:cubicBezTo>
                <a:cubicBezTo>
                  <a:pt x="8220689" y="67926"/>
                  <a:pt x="8216880" y="68886"/>
                  <a:pt x="8214145" y="70807"/>
                </a:cubicBezTo>
                <a:cubicBezTo>
                  <a:pt x="8211410" y="72728"/>
                  <a:pt x="8209197" y="76097"/>
                  <a:pt x="8207504" y="80916"/>
                </a:cubicBezTo>
                <a:lnTo>
                  <a:pt x="8182598" y="76423"/>
                </a:lnTo>
                <a:cubicBezTo>
                  <a:pt x="8185398" y="66396"/>
                  <a:pt x="8190216" y="58973"/>
                  <a:pt x="8197053" y="54155"/>
                </a:cubicBezTo>
                <a:cubicBezTo>
                  <a:pt x="8203890" y="49336"/>
                  <a:pt x="8214048" y="46927"/>
                  <a:pt x="8227526" y="46927"/>
                </a:cubicBezTo>
                <a:close/>
                <a:moveTo>
                  <a:pt x="7987298" y="46927"/>
                </a:moveTo>
                <a:cubicBezTo>
                  <a:pt x="7993549" y="46927"/>
                  <a:pt x="7999572" y="48653"/>
                  <a:pt x="8005367" y="52104"/>
                </a:cubicBezTo>
                <a:lnTo>
                  <a:pt x="7996870" y="76032"/>
                </a:lnTo>
                <a:cubicBezTo>
                  <a:pt x="7992247" y="73037"/>
                  <a:pt x="7987950" y="71540"/>
                  <a:pt x="7983978" y="71540"/>
                </a:cubicBezTo>
                <a:cubicBezTo>
                  <a:pt x="7980136" y="71540"/>
                  <a:pt x="7976880" y="72598"/>
                  <a:pt x="7974211" y="74714"/>
                </a:cubicBezTo>
                <a:cubicBezTo>
                  <a:pt x="7971541" y="76830"/>
                  <a:pt x="7969441" y="80655"/>
                  <a:pt x="7967911" y="86190"/>
                </a:cubicBezTo>
                <a:cubicBezTo>
                  <a:pt x="7966381" y="91724"/>
                  <a:pt x="7965616" y="103314"/>
                  <a:pt x="7965616" y="120960"/>
                </a:cubicBezTo>
                <a:lnTo>
                  <a:pt x="7965616" y="152995"/>
                </a:lnTo>
                <a:lnTo>
                  <a:pt x="7938171" y="152995"/>
                </a:lnTo>
                <a:lnTo>
                  <a:pt x="7938171" y="49271"/>
                </a:lnTo>
                <a:lnTo>
                  <a:pt x="7963663" y="49271"/>
                </a:lnTo>
                <a:lnTo>
                  <a:pt x="7963663" y="64019"/>
                </a:lnTo>
                <a:cubicBezTo>
                  <a:pt x="7968025" y="57052"/>
                  <a:pt x="7971948" y="52462"/>
                  <a:pt x="7975432" y="50248"/>
                </a:cubicBezTo>
                <a:cubicBezTo>
                  <a:pt x="7978915" y="48034"/>
                  <a:pt x="7982871" y="46927"/>
                  <a:pt x="7987298" y="46927"/>
                </a:cubicBezTo>
                <a:close/>
                <a:moveTo>
                  <a:pt x="7872654" y="46927"/>
                </a:moveTo>
                <a:cubicBezTo>
                  <a:pt x="7884700" y="46927"/>
                  <a:pt x="7894923" y="51648"/>
                  <a:pt x="7903322" y="61089"/>
                </a:cubicBezTo>
                <a:cubicBezTo>
                  <a:pt x="7911722" y="70530"/>
                  <a:pt x="7915921" y="83683"/>
                  <a:pt x="7915921" y="100547"/>
                </a:cubicBezTo>
                <a:cubicBezTo>
                  <a:pt x="7915921" y="117867"/>
                  <a:pt x="7911689" y="131329"/>
                  <a:pt x="7903225" y="140933"/>
                </a:cubicBezTo>
                <a:cubicBezTo>
                  <a:pt x="7894760" y="150537"/>
                  <a:pt x="7884505" y="155339"/>
                  <a:pt x="7872459" y="155339"/>
                </a:cubicBezTo>
                <a:cubicBezTo>
                  <a:pt x="7866729" y="155339"/>
                  <a:pt x="7861536" y="154200"/>
                  <a:pt x="7856881" y="151921"/>
                </a:cubicBezTo>
                <a:cubicBezTo>
                  <a:pt x="7852225" y="149642"/>
                  <a:pt x="7847326" y="145735"/>
                  <a:pt x="7842182" y="140201"/>
                </a:cubicBezTo>
                <a:lnTo>
                  <a:pt x="7842182" y="192453"/>
                </a:lnTo>
                <a:lnTo>
                  <a:pt x="7814737" y="192453"/>
                </a:lnTo>
                <a:lnTo>
                  <a:pt x="7814737" y="49271"/>
                </a:lnTo>
                <a:lnTo>
                  <a:pt x="7840326" y="49271"/>
                </a:lnTo>
                <a:lnTo>
                  <a:pt x="7840326" y="64507"/>
                </a:lnTo>
                <a:cubicBezTo>
                  <a:pt x="7843647" y="59298"/>
                  <a:pt x="7848140" y="55066"/>
                  <a:pt x="7853804" y="51811"/>
                </a:cubicBezTo>
                <a:cubicBezTo>
                  <a:pt x="7859469" y="48555"/>
                  <a:pt x="7865752" y="46927"/>
                  <a:pt x="7872654" y="46927"/>
                </a:cubicBezTo>
                <a:close/>
                <a:moveTo>
                  <a:pt x="7570301" y="46927"/>
                </a:moveTo>
                <a:cubicBezTo>
                  <a:pt x="7582542" y="46927"/>
                  <a:pt x="7591658" y="48376"/>
                  <a:pt x="7597648" y="51273"/>
                </a:cubicBezTo>
                <a:cubicBezTo>
                  <a:pt x="7603638" y="54171"/>
                  <a:pt x="7607854" y="57850"/>
                  <a:pt x="7610296" y="62310"/>
                </a:cubicBezTo>
                <a:cubicBezTo>
                  <a:pt x="7612738" y="66770"/>
                  <a:pt x="7613958" y="74958"/>
                  <a:pt x="7613958" y="86874"/>
                </a:cubicBezTo>
                <a:lnTo>
                  <a:pt x="7613665" y="118909"/>
                </a:lnTo>
                <a:cubicBezTo>
                  <a:pt x="7613665" y="128025"/>
                  <a:pt x="7614105" y="134747"/>
                  <a:pt x="7614984" y="139077"/>
                </a:cubicBezTo>
                <a:cubicBezTo>
                  <a:pt x="7615863" y="143407"/>
                  <a:pt x="7617507" y="148047"/>
                  <a:pt x="7619916" y="152995"/>
                </a:cubicBezTo>
                <a:lnTo>
                  <a:pt x="7592764" y="152995"/>
                </a:lnTo>
                <a:cubicBezTo>
                  <a:pt x="7592048" y="151172"/>
                  <a:pt x="7591169" y="148470"/>
                  <a:pt x="7590127" y="144889"/>
                </a:cubicBezTo>
                <a:cubicBezTo>
                  <a:pt x="7589672" y="143261"/>
                  <a:pt x="7589346" y="142186"/>
                  <a:pt x="7589151" y="141666"/>
                </a:cubicBezTo>
                <a:cubicBezTo>
                  <a:pt x="7584463" y="146223"/>
                  <a:pt x="7579449" y="149642"/>
                  <a:pt x="7574110" y="151921"/>
                </a:cubicBezTo>
                <a:cubicBezTo>
                  <a:pt x="7568771" y="154200"/>
                  <a:pt x="7563073" y="155339"/>
                  <a:pt x="7557018" y="155339"/>
                </a:cubicBezTo>
                <a:cubicBezTo>
                  <a:pt x="7546339" y="155339"/>
                  <a:pt x="7537924" y="152442"/>
                  <a:pt x="7531770" y="146647"/>
                </a:cubicBezTo>
                <a:cubicBezTo>
                  <a:pt x="7525617" y="140852"/>
                  <a:pt x="7522541" y="133526"/>
                  <a:pt x="7522541" y="124671"/>
                </a:cubicBezTo>
                <a:cubicBezTo>
                  <a:pt x="7522541" y="118811"/>
                  <a:pt x="7523941" y="113586"/>
                  <a:pt x="7526741" y="108995"/>
                </a:cubicBezTo>
                <a:cubicBezTo>
                  <a:pt x="7529540" y="104405"/>
                  <a:pt x="7533463" y="100889"/>
                  <a:pt x="7538510" y="98447"/>
                </a:cubicBezTo>
                <a:cubicBezTo>
                  <a:pt x="7543556" y="96006"/>
                  <a:pt x="7550832" y="93873"/>
                  <a:pt x="7560338" y="92050"/>
                </a:cubicBezTo>
                <a:cubicBezTo>
                  <a:pt x="7573166" y="89641"/>
                  <a:pt x="7582053" y="87394"/>
                  <a:pt x="7587002" y="85311"/>
                </a:cubicBezTo>
                <a:lnTo>
                  <a:pt x="7587002" y="82576"/>
                </a:lnTo>
                <a:cubicBezTo>
                  <a:pt x="7587002" y="77302"/>
                  <a:pt x="7585700" y="73542"/>
                  <a:pt x="7583095" y="71295"/>
                </a:cubicBezTo>
                <a:cubicBezTo>
                  <a:pt x="7580491" y="69049"/>
                  <a:pt x="7575575" y="67926"/>
                  <a:pt x="7568347" y="67926"/>
                </a:cubicBezTo>
                <a:cubicBezTo>
                  <a:pt x="7563464" y="67926"/>
                  <a:pt x="7559655" y="68886"/>
                  <a:pt x="7556920" y="70807"/>
                </a:cubicBezTo>
                <a:cubicBezTo>
                  <a:pt x="7554185" y="72728"/>
                  <a:pt x="7551972" y="76097"/>
                  <a:pt x="7550279" y="80916"/>
                </a:cubicBezTo>
                <a:lnTo>
                  <a:pt x="7525373" y="76423"/>
                </a:lnTo>
                <a:cubicBezTo>
                  <a:pt x="7528173" y="66396"/>
                  <a:pt x="7532991" y="58973"/>
                  <a:pt x="7539828" y="54155"/>
                </a:cubicBezTo>
                <a:cubicBezTo>
                  <a:pt x="7546665" y="49336"/>
                  <a:pt x="7556822" y="46927"/>
                  <a:pt x="7570301" y="46927"/>
                </a:cubicBezTo>
                <a:close/>
                <a:moveTo>
                  <a:pt x="7459712" y="46927"/>
                </a:moveTo>
                <a:cubicBezTo>
                  <a:pt x="7472344" y="46927"/>
                  <a:pt x="7482387" y="49646"/>
                  <a:pt x="7489843" y="55082"/>
                </a:cubicBezTo>
                <a:cubicBezTo>
                  <a:pt x="7497298" y="60519"/>
                  <a:pt x="7502654" y="68805"/>
                  <a:pt x="7505909" y="79939"/>
                </a:cubicBezTo>
                <a:lnTo>
                  <a:pt x="7478855" y="84822"/>
                </a:lnTo>
                <a:cubicBezTo>
                  <a:pt x="7477944" y="79418"/>
                  <a:pt x="7475876" y="75349"/>
                  <a:pt x="7472653" y="72614"/>
                </a:cubicBezTo>
                <a:cubicBezTo>
                  <a:pt x="7469430" y="69879"/>
                  <a:pt x="7465247" y="68512"/>
                  <a:pt x="7460103" y="68512"/>
                </a:cubicBezTo>
                <a:cubicBezTo>
                  <a:pt x="7453266" y="68512"/>
                  <a:pt x="7447813" y="70872"/>
                  <a:pt x="7443743" y="75593"/>
                </a:cubicBezTo>
                <a:cubicBezTo>
                  <a:pt x="7439674" y="80313"/>
                  <a:pt x="7437639" y="88208"/>
                  <a:pt x="7437639" y="99277"/>
                </a:cubicBezTo>
                <a:cubicBezTo>
                  <a:pt x="7437639" y="111584"/>
                  <a:pt x="7439706" y="120276"/>
                  <a:pt x="7443841" y="125355"/>
                </a:cubicBezTo>
                <a:cubicBezTo>
                  <a:pt x="7447976" y="130434"/>
                  <a:pt x="7453526" y="132973"/>
                  <a:pt x="7460493" y="132973"/>
                </a:cubicBezTo>
                <a:cubicBezTo>
                  <a:pt x="7465702" y="132973"/>
                  <a:pt x="7469967" y="131492"/>
                  <a:pt x="7473288" y="128529"/>
                </a:cubicBezTo>
                <a:cubicBezTo>
                  <a:pt x="7476609" y="125567"/>
                  <a:pt x="7478953" y="120471"/>
                  <a:pt x="7480320" y="113244"/>
                </a:cubicBezTo>
                <a:lnTo>
                  <a:pt x="7507277" y="117834"/>
                </a:lnTo>
                <a:cubicBezTo>
                  <a:pt x="7504477" y="130206"/>
                  <a:pt x="7499105" y="139549"/>
                  <a:pt x="7491161" y="145865"/>
                </a:cubicBezTo>
                <a:cubicBezTo>
                  <a:pt x="7483218" y="152181"/>
                  <a:pt x="7472572" y="155339"/>
                  <a:pt x="7459224" y="155339"/>
                </a:cubicBezTo>
                <a:cubicBezTo>
                  <a:pt x="7444053" y="155339"/>
                  <a:pt x="7431958" y="150553"/>
                  <a:pt x="7422940" y="140982"/>
                </a:cubicBezTo>
                <a:cubicBezTo>
                  <a:pt x="7413922" y="131410"/>
                  <a:pt x="7409413" y="118160"/>
                  <a:pt x="7409413" y="101231"/>
                </a:cubicBezTo>
                <a:cubicBezTo>
                  <a:pt x="7409413" y="84106"/>
                  <a:pt x="7413938" y="70775"/>
                  <a:pt x="7422989" y="61236"/>
                </a:cubicBezTo>
                <a:cubicBezTo>
                  <a:pt x="7432039" y="51697"/>
                  <a:pt x="7444280" y="46927"/>
                  <a:pt x="7459712" y="46927"/>
                </a:cubicBezTo>
                <a:close/>
                <a:moveTo>
                  <a:pt x="7338719" y="46927"/>
                </a:moveTo>
                <a:cubicBezTo>
                  <a:pt x="7354412" y="46927"/>
                  <a:pt x="7367271" y="52022"/>
                  <a:pt x="7377298" y="62212"/>
                </a:cubicBezTo>
                <a:cubicBezTo>
                  <a:pt x="7387326" y="72402"/>
                  <a:pt x="7392339" y="85278"/>
                  <a:pt x="7392339" y="100840"/>
                </a:cubicBezTo>
                <a:cubicBezTo>
                  <a:pt x="7392339" y="116532"/>
                  <a:pt x="7387277" y="129538"/>
                  <a:pt x="7377152" y="139859"/>
                </a:cubicBezTo>
                <a:cubicBezTo>
                  <a:pt x="7367027" y="150179"/>
                  <a:pt x="7354281" y="155339"/>
                  <a:pt x="7338915" y="155339"/>
                </a:cubicBezTo>
                <a:cubicBezTo>
                  <a:pt x="7329408" y="155339"/>
                  <a:pt x="7320342" y="153190"/>
                  <a:pt x="7311714" y="148893"/>
                </a:cubicBezTo>
                <a:cubicBezTo>
                  <a:pt x="7303087" y="144596"/>
                  <a:pt x="7296527" y="138296"/>
                  <a:pt x="7292034" y="129994"/>
                </a:cubicBezTo>
                <a:cubicBezTo>
                  <a:pt x="7287541" y="121692"/>
                  <a:pt x="7285295" y="111584"/>
                  <a:pt x="7285295" y="99668"/>
                </a:cubicBezTo>
                <a:cubicBezTo>
                  <a:pt x="7285295" y="90552"/>
                  <a:pt x="7287541" y="81730"/>
                  <a:pt x="7292034" y="73200"/>
                </a:cubicBezTo>
                <a:cubicBezTo>
                  <a:pt x="7296527" y="64670"/>
                  <a:pt x="7302891" y="58159"/>
                  <a:pt x="7311128" y="53666"/>
                </a:cubicBezTo>
                <a:cubicBezTo>
                  <a:pt x="7319365" y="49173"/>
                  <a:pt x="7328562" y="46927"/>
                  <a:pt x="7338719" y="46927"/>
                </a:cubicBezTo>
                <a:close/>
                <a:moveTo>
                  <a:pt x="5830892" y="46927"/>
                </a:moveTo>
                <a:cubicBezTo>
                  <a:pt x="5836948" y="46927"/>
                  <a:pt x="5842482" y="48018"/>
                  <a:pt x="5847496" y="50199"/>
                </a:cubicBezTo>
                <a:cubicBezTo>
                  <a:pt x="5852510" y="52380"/>
                  <a:pt x="5856303" y="55164"/>
                  <a:pt x="5858874" y="58550"/>
                </a:cubicBezTo>
                <a:cubicBezTo>
                  <a:pt x="5861446" y="61936"/>
                  <a:pt x="5863237" y="65777"/>
                  <a:pt x="5864246" y="70075"/>
                </a:cubicBezTo>
                <a:cubicBezTo>
                  <a:pt x="5865255" y="74372"/>
                  <a:pt x="5865760" y="80525"/>
                  <a:pt x="5865760" y="88534"/>
                </a:cubicBezTo>
                <a:lnTo>
                  <a:pt x="5865760" y="152995"/>
                </a:lnTo>
                <a:lnTo>
                  <a:pt x="5838315" y="152995"/>
                </a:lnTo>
                <a:lnTo>
                  <a:pt x="5838315" y="100059"/>
                </a:lnTo>
                <a:cubicBezTo>
                  <a:pt x="5838315" y="88859"/>
                  <a:pt x="5837729" y="81616"/>
                  <a:pt x="5836557" y="78328"/>
                </a:cubicBezTo>
                <a:cubicBezTo>
                  <a:pt x="5835385" y="75039"/>
                  <a:pt x="5833481" y="72484"/>
                  <a:pt x="5830844" y="70661"/>
                </a:cubicBezTo>
                <a:cubicBezTo>
                  <a:pt x="5828207" y="68837"/>
                  <a:pt x="5825032" y="67926"/>
                  <a:pt x="5821321" y="67926"/>
                </a:cubicBezTo>
                <a:cubicBezTo>
                  <a:pt x="5816568" y="67926"/>
                  <a:pt x="5812303" y="69228"/>
                  <a:pt x="5808526" y="71833"/>
                </a:cubicBezTo>
                <a:cubicBezTo>
                  <a:pt x="5804750" y="74437"/>
                  <a:pt x="5802162" y="77888"/>
                  <a:pt x="5800762" y="82185"/>
                </a:cubicBezTo>
                <a:cubicBezTo>
                  <a:pt x="5799362" y="86483"/>
                  <a:pt x="5798662" y="94427"/>
                  <a:pt x="5798662" y="106017"/>
                </a:cubicBezTo>
                <a:lnTo>
                  <a:pt x="5798662" y="152995"/>
                </a:lnTo>
                <a:lnTo>
                  <a:pt x="5771217" y="152995"/>
                </a:lnTo>
                <a:lnTo>
                  <a:pt x="5771217" y="49271"/>
                </a:lnTo>
                <a:lnTo>
                  <a:pt x="5796708" y="49271"/>
                </a:lnTo>
                <a:lnTo>
                  <a:pt x="5796708" y="64507"/>
                </a:lnTo>
                <a:cubicBezTo>
                  <a:pt x="5805759" y="52787"/>
                  <a:pt x="5817154" y="46927"/>
                  <a:pt x="5830892" y="46927"/>
                </a:cubicBezTo>
                <a:close/>
                <a:moveTo>
                  <a:pt x="5696668" y="46927"/>
                </a:moveTo>
                <a:cubicBezTo>
                  <a:pt x="5712100" y="46927"/>
                  <a:pt x="5724276" y="52022"/>
                  <a:pt x="5733196" y="62212"/>
                </a:cubicBezTo>
                <a:cubicBezTo>
                  <a:pt x="5742116" y="72402"/>
                  <a:pt x="5746381" y="88013"/>
                  <a:pt x="5745991" y="109044"/>
                </a:cubicBezTo>
                <a:lnTo>
                  <a:pt x="5677232" y="109044"/>
                </a:lnTo>
                <a:cubicBezTo>
                  <a:pt x="5677427" y="117183"/>
                  <a:pt x="5679641" y="123515"/>
                  <a:pt x="5683873" y="128041"/>
                </a:cubicBezTo>
                <a:cubicBezTo>
                  <a:pt x="5688106" y="132566"/>
                  <a:pt x="5693380" y="134829"/>
                  <a:pt x="5699696" y="134829"/>
                </a:cubicBezTo>
                <a:cubicBezTo>
                  <a:pt x="5703993" y="134829"/>
                  <a:pt x="5707607" y="133657"/>
                  <a:pt x="5710537" y="131313"/>
                </a:cubicBezTo>
                <a:cubicBezTo>
                  <a:pt x="5713467" y="128969"/>
                  <a:pt x="5715681" y="125192"/>
                  <a:pt x="5717178" y="119983"/>
                </a:cubicBezTo>
                <a:lnTo>
                  <a:pt x="5744526" y="124574"/>
                </a:lnTo>
                <a:cubicBezTo>
                  <a:pt x="5741010" y="134601"/>
                  <a:pt x="5735459" y="142235"/>
                  <a:pt x="5727873" y="147477"/>
                </a:cubicBezTo>
                <a:cubicBezTo>
                  <a:pt x="5720288" y="152718"/>
                  <a:pt x="5710797" y="155339"/>
                  <a:pt x="5699403" y="155339"/>
                </a:cubicBezTo>
                <a:cubicBezTo>
                  <a:pt x="5681367" y="155339"/>
                  <a:pt x="5668019" y="149446"/>
                  <a:pt x="5659359" y="137661"/>
                </a:cubicBezTo>
                <a:cubicBezTo>
                  <a:pt x="5652522" y="128220"/>
                  <a:pt x="5649104" y="116304"/>
                  <a:pt x="5649104" y="101914"/>
                </a:cubicBezTo>
                <a:cubicBezTo>
                  <a:pt x="5649104" y="84725"/>
                  <a:pt x="5653596" y="71263"/>
                  <a:pt x="5662582" y="61529"/>
                </a:cubicBezTo>
                <a:cubicBezTo>
                  <a:pt x="5671567" y="51794"/>
                  <a:pt x="5682929" y="46927"/>
                  <a:pt x="5696668" y="46927"/>
                </a:cubicBezTo>
                <a:close/>
                <a:moveTo>
                  <a:pt x="5531711" y="46927"/>
                </a:moveTo>
                <a:cubicBezTo>
                  <a:pt x="5538352" y="46927"/>
                  <a:pt x="5544115" y="48294"/>
                  <a:pt x="5548998" y="51029"/>
                </a:cubicBezTo>
                <a:cubicBezTo>
                  <a:pt x="5553881" y="53764"/>
                  <a:pt x="5557886" y="57899"/>
                  <a:pt x="5561011" y="63433"/>
                </a:cubicBezTo>
                <a:cubicBezTo>
                  <a:pt x="5565569" y="57899"/>
                  <a:pt x="5570485" y="53764"/>
                  <a:pt x="5575759" y="51029"/>
                </a:cubicBezTo>
                <a:cubicBezTo>
                  <a:pt x="5581033" y="48294"/>
                  <a:pt x="5586666" y="46927"/>
                  <a:pt x="5592656" y="46927"/>
                </a:cubicBezTo>
                <a:cubicBezTo>
                  <a:pt x="5600274" y="46927"/>
                  <a:pt x="5606720" y="48474"/>
                  <a:pt x="5611994" y="51566"/>
                </a:cubicBezTo>
                <a:cubicBezTo>
                  <a:pt x="5617268" y="54659"/>
                  <a:pt x="5621208" y="59201"/>
                  <a:pt x="5623812" y="65191"/>
                </a:cubicBezTo>
                <a:cubicBezTo>
                  <a:pt x="5625700" y="69619"/>
                  <a:pt x="5626645" y="76781"/>
                  <a:pt x="5626645" y="86678"/>
                </a:cubicBezTo>
                <a:lnTo>
                  <a:pt x="5626645" y="152995"/>
                </a:lnTo>
                <a:lnTo>
                  <a:pt x="5599200" y="152995"/>
                </a:lnTo>
                <a:lnTo>
                  <a:pt x="5599200" y="93710"/>
                </a:lnTo>
                <a:cubicBezTo>
                  <a:pt x="5599200" y="83423"/>
                  <a:pt x="5598256" y="76781"/>
                  <a:pt x="5596367" y="73786"/>
                </a:cubicBezTo>
                <a:cubicBezTo>
                  <a:pt x="5593828" y="69879"/>
                  <a:pt x="5589921" y="67926"/>
                  <a:pt x="5584647" y="67926"/>
                </a:cubicBezTo>
                <a:cubicBezTo>
                  <a:pt x="5580805" y="67926"/>
                  <a:pt x="5577192" y="69098"/>
                  <a:pt x="5573806" y="71442"/>
                </a:cubicBezTo>
                <a:cubicBezTo>
                  <a:pt x="5570420" y="73786"/>
                  <a:pt x="5567978" y="77221"/>
                  <a:pt x="5566481" y="81746"/>
                </a:cubicBezTo>
                <a:cubicBezTo>
                  <a:pt x="5564983" y="86271"/>
                  <a:pt x="5564234" y="93417"/>
                  <a:pt x="5564234" y="103184"/>
                </a:cubicBezTo>
                <a:lnTo>
                  <a:pt x="5564234" y="152995"/>
                </a:lnTo>
                <a:lnTo>
                  <a:pt x="5536790" y="152995"/>
                </a:lnTo>
                <a:lnTo>
                  <a:pt x="5536790" y="96152"/>
                </a:lnTo>
                <a:cubicBezTo>
                  <a:pt x="5536790" y="86060"/>
                  <a:pt x="5536301" y="79548"/>
                  <a:pt x="5535324" y="76618"/>
                </a:cubicBezTo>
                <a:cubicBezTo>
                  <a:pt x="5534348" y="73688"/>
                  <a:pt x="5532834" y="71507"/>
                  <a:pt x="5530783" y="70075"/>
                </a:cubicBezTo>
                <a:cubicBezTo>
                  <a:pt x="5528732" y="68642"/>
                  <a:pt x="5525948" y="67926"/>
                  <a:pt x="5522432" y="67926"/>
                </a:cubicBezTo>
                <a:cubicBezTo>
                  <a:pt x="5518200" y="67926"/>
                  <a:pt x="5514391" y="69065"/>
                  <a:pt x="5511005" y="71344"/>
                </a:cubicBezTo>
                <a:cubicBezTo>
                  <a:pt x="5507619" y="73623"/>
                  <a:pt x="5505194" y="76911"/>
                  <a:pt x="5503729" y="81209"/>
                </a:cubicBezTo>
                <a:cubicBezTo>
                  <a:pt x="5502264" y="85506"/>
                  <a:pt x="5501531" y="92636"/>
                  <a:pt x="5501531" y="102598"/>
                </a:cubicBezTo>
                <a:lnTo>
                  <a:pt x="5501531" y="152995"/>
                </a:lnTo>
                <a:lnTo>
                  <a:pt x="5474086" y="152995"/>
                </a:lnTo>
                <a:lnTo>
                  <a:pt x="5474086" y="49271"/>
                </a:lnTo>
                <a:lnTo>
                  <a:pt x="5499382" y="49271"/>
                </a:lnTo>
                <a:lnTo>
                  <a:pt x="5499382" y="63433"/>
                </a:lnTo>
                <a:cubicBezTo>
                  <a:pt x="5508433" y="52429"/>
                  <a:pt x="5519209" y="46927"/>
                  <a:pt x="5531711" y="46927"/>
                </a:cubicBezTo>
                <a:close/>
                <a:moveTo>
                  <a:pt x="5294614" y="46927"/>
                </a:moveTo>
                <a:cubicBezTo>
                  <a:pt x="5310306" y="46927"/>
                  <a:pt x="5323165" y="52022"/>
                  <a:pt x="5333193" y="62212"/>
                </a:cubicBezTo>
                <a:cubicBezTo>
                  <a:pt x="5343220" y="72402"/>
                  <a:pt x="5348234" y="85278"/>
                  <a:pt x="5348234" y="100840"/>
                </a:cubicBezTo>
                <a:cubicBezTo>
                  <a:pt x="5348234" y="116532"/>
                  <a:pt x="5343171" y="129538"/>
                  <a:pt x="5333046" y="139859"/>
                </a:cubicBezTo>
                <a:cubicBezTo>
                  <a:pt x="5322921" y="150179"/>
                  <a:pt x="5310175" y="155339"/>
                  <a:pt x="5294809" y="155339"/>
                </a:cubicBezTo>
                <a:cubicBezTo>
                  <a:pt x="5285303" y="155339"/>
                  <a:pt x="5276236" y="153190"/>
                  <a:pt x="5267608" y="148893"/>
                </a:cubicBezTo>
                <a:cubicBezTo>
                  <a:pt x="5258981" y="144596"/>
                  <a:pt x="5252421" y="138296"/>
                  <a:pt x="5247928" y="129994"/>
                </a:cubicBezTo>
                <a:cubicBezTo>
                  <a:pt x="5243435" y="121692"/>
                  <a:pt x="5241189" y="111584"/>
                  <a:pt x="5241189" y="99668"/>
                </a:cubicBezTo>
                <a:cubicBezTo>
                  <a:pt x="5241189" y="90552"/>
                  <a:pt x="5243435" y="81730"/>
                  <a:pt x="5247928" y="73200"/>
                </a:cubicBezTo>
                <a:cubicBezTo>
                  <a:pt x="5252421" y="64670"/>
                  <a:pt x="5258786" y="58159"/>
                  <a:pt x="5267022" y="53666"/>
                </a:cubicBezTo>
                <a:cubicBezTo>
                  <a:pt x="5275259" y="49173"/>
                  <a:pt x="5284456" y="46927"/>
                  <a:pt x="5294614" y="46927"/>
                </a:cubicBezTo>
                <a:close/>
                <a:moveTo>
                  <a:pt x="5133224" y="46927"/>
                </a:moveTo>
                <a:cubicBezTo>
                  <a:pt x="5145269" y="46927"/>
                  <a:pt x="5155492" y="51648"/>
                  <a:pt x="5163891" y="61089"/>
                </a:cubicBezTo>
                <a:cubicBezTo>
                  <a:pt x="5172291" y="70530"/>
                  <a:pt x="5176491" y="83683"/>
                  <a:pt x="5176491" y="100547"/>
                </a:cubicBezTo>
                <a:cubicBezTo>
                  <a:pt x="5176491" y="117867"/>
                  <a:pt x="5172258" y="131329"/>
                  <a:pt x="5163794" y="140933"/>
                </a:cubicBezTo>
                <a:cubicBezTo>
                  <a:pt x="5155329" y="150537"/>
                  <a:pt x="5145074" y="155339"/>
                  <a:pt x="5133028" y="155339"/>
                </a:cubicBezTo>
                <a:cubicBezTo>
                  <a:pt x="5127298" y="155339"/>
                  <a:pt x="5122106" y="154200"/>
                  <a:pt x="5117450" y="151921"/>
                </a:cubicBezTo>
                <a:cubicBezTo>
                  <a:pt x="5112794" y="149642"/>
                  <a:pt x="5107895" y="145735"/>
                  <a:pt x="5102751" y="140201"/>
                </a:cubicBezTo>
                <a:lnTo>
                  <a:pt x="5102751" y="192453"/>
                </a:lnTo>
                <a:lnTo>
                  <a:pt x="5075306" y="192453"/>
                </a:lnTo>
                <a:lnTo>
                  <a:pt x="5075306" y="49271"/>
                </a:lnTo>
                <a:lnTo>
                  <a:pt x="5100895" y="49271"/>
                </a:lnTo>
                <a:lnTo>
                  <a:pt x="5100895" y="64507"/>
                </a:lnTo>
                <a:cubicBezTo>
                  <a:pt x="5104216" y="59298"/>
                  <a:pt x="5108709" y="55066"/>
                  <a:pt x="5114373" y="51811"/>
                </a:cubicBezTo>
                <a:cubicBezTo>
                  <a:pt x="5120038" y="48555"/>
                  <a:pt x="5126322" y="46927"/>
                  <a:pt x="5133224" y="46927"/>
                </a:cubicBezTo>
                <a:close/>
                <a:moveTo>
                  <a:pt x="5001343" y="46927"/>
                </a:moveTo>
                <a:cubicBezTo>
                  <a:pt x="5016775" y="46927"/>
                  <a:pt x="5028951" y="52022"/>
                  <a:pt x="5037871" y="62212"/>
                </a:cubicBezTo>
                <a:cubicBezTo>
                  <a:pt x="5046792" y="72402"/>
                  <a:pt x="5051056" y="88013"/>
                  <a:pt x="5050666" y="109044"/>
                </a:cubicBezTo>
                <a:lnTo>
                  <a:pt x="4981907" y="109044"/>
                </a:lnTo>
                <a:cubicBezTo>
                  <a:pt x="4982102" y="117183"/>
                  <a:pt x="4984316" y="123515"/>
                  <a:pt x="4988549" y="128041"/>
                </a:cubicBezTo>
                <a:cubicBezTo>
                  <a:pt x="4992781" y="132566"/>
                  <a:pt x="4998055" y="134829"/>
                  <a:pt x="5004371" y="134829"/>
                </a:cubicBezTo>
                <a:cubicBezTo>
                  <a:pt x="5008668" y="134829"/>
                  <a:pt x="5012282" y="133657"/>
                  <a:pt x="5015212" y="131313"/>
                </a:cubicBezTo>
                <a:cubicBezTo>
                  <a:pt x="5018142" y="128969"/>
                  <a:pt x="5020356" y="125192"/>
                  <a:pt x="5021854" y="119983"/>
                </a:cubicBezTo>
                <a:lnTo>
                  <a:pt x="5049201" y="124574"/>
                </a:lnTo>
                <a:cubicBezTo>
                  <a:pt x="5045685" y="134601"/>
                  <a:pt x="5040134" y="142235"/>
                  <a:pt x="5032548" y="147477"/>
                </a:cubicBezTo>
                <a:cubicBezTo>
                  <a:pt x="5024963" y="152718"/>
                  <a:pt x="5015472" y="155339"/>
                  <a:pt x="5004078" y="155339"/>
                </a:cubicBezTo>
                <a:cubicBezTo>
                  <a:pt x="4986042" y="155339"/>
                  <a:pt x="4972694" y="149446"/>
                  <a:pt x="4964034" y="137661"/>
                </a:cubicBezTo>
                <a:cubicBezTo>
                  <a:pt x="4957197" y="128220"/>
                  <a:pt x="4953779" y="116304"/>
                  <a:pt x="4953779" y="101914"/>
                </a:cubicBezTo>
                <a:cubicBezTo>
                  <a:pt x="4953779" y="84725"/>
                  <a:pt x="4958271" y="71263"/>
                  <a:pt x="4967257" y="61529"/>
                </a:cubicBezTo>
                <a:cubicBezTo>
                  <a:pt x="4976242" y="51794"/>
                  <a:pt x="4987604" y="46927"/>
                  <a:pt x="5001343" y="46927"/>
                </a:cubicBezTo>
                <a:close/>
                <a:moveTo>
                  <a:pt x="4691706" y="46927"/>
                </a:moveTo>
                <a:cubicBezTo>
                  <a:pt x="4704338" y="46927"/>
                  <a:pt x="4714382" y="49646"/>
                  <a:pt x="4721837" y="55082"/>
                </a:cubicBezTo>
                <a:cubicBezTo>
                  <a:pt x="4729292" y="60519"/>
                  <a:pt x="4734648" y="68805"/>
                  <a:pt x="4737903" y="79939"/>
                </a:cubicBezTo>
                <a:lnTo>
                  <a:pt x="4710849" y="84822"/>
                </a:lnTo>
                <a:cubicBezTo>
                  <a:pt x="4709938" y="79418"/>
                  <a:pt x="4707870" y="75349"/>
                  <a:pt x="4704647" y="72614"/>
                </a:cubicBezTo>
                <a:cubicBezTo>
                  <a:pt x="4701424" y="69879"/>
                  <a:pt x="4697241" y="68512"/>
                  <a:pt x="4692097" y="68512"/>
                </a:cubicBezTo>
                <a:cubicBezTo>
                  <a:pt x="4685260" y="68512"/>
                  <a:pt x="4679807" y="70872"/>
                  <a:pt x="4675737" y="75593"/>
                </a:cubicBezTo>
                <a:cubicBezTo>
                  <a:pt x="4671668" y="80313"/>
                  <a:pt x="4669633" y="88208"/>
                  <a:pt x="4669633" y="99277"/>
                </a:cubicBezTo>
                <a:cubicBezTo>
                  <a:pt x="4669633" y="111584"/>
                  <a:pt x="4671701" y="120276"/>
                  <a:pt x="4675835" y="125355"/>
                </a:cubicBezTo>
                <a:cubicBezTo>
                  <a:pt x="4679970" y="130434"/>
                  <a:pt x="4685521" y="132973"/>
                  <a:pt x="4692488" y="132973"/>
                </a:cubicBezTo>
                <a:cubicBezTo>
                  <a:pt x="4697697" y="132973"/>
                  <a:pt x="4701961" y="131492"/>
                  <a:pt x="4705282" y="128529"/>
                </a:cubicBezTo>
                <a:cubicBezTo>
                  <a:pt x="4708603" y="125567"/>
                  <a:pt x="4710947" y="120471"/>
                  <a:pt x="4712314" y="113244"/>
                </a:cubicBezTo>
                <a:lnTo>
                  <a:pt x="4739271" y="117834"/>
                </a:lnTo>
                <a:cubicBezTo>
                  <a:pt x="4736471" y="130206"/>
                  <a:pt x="4731099" y="139549"/>
                  <a:pt x="4723156" y="145865"/>
                </a:cubicBezTo>
                <a:cubicBezTo>
                  <a:pt x="4715212" y="152181"/>
                  <a:pt x="4704566" y="155339"/>
                  <a:pt x="4691218" y="155339"/>
                </a:cubicBezTo>
                <a:cubicBezTo>
                  <a:pt x="4676047" y="155339"/>
                  <a:pt x="4663952" y="150553"/>
                  <a:pt x="4654934" y="140982"/>
                </a:cubicBezTo>
                <a:cubicBezTo>
                  <a:pt x="4645916" y="131410"/>
                  <a:pt x="4641407" y="118160"/>
                  <a:pt x="4641407" y="101231"/>
                </a:cubicBezTo>
                <a:cubicBezTo>
                  <a:pt x="4641407" y="84106"/>
                  <a:pt x="4645932" y="70775"/>
                  <a:pt x="4654983" y="61236"/>
                </a:cubicBezTo>
                <a:cubicBezTo>
                  <a:pt x="4664034" y="51697"/>
                  <a:pt x="4676275" y="46927"/>
                  <a:pt x="4691706" y="46927"/>
                </a:cubicBezTo>
                <a:close/>
                <a:moveTo>
                  <a:pt x="4237874" y="46927"/>
                </a:moveTo>
                <a:cubicBezTo>
                  <a:pt x="4249919" y="46927"/>
                  <a:pt x="4260142" y="51648"/>
                  <a:pt x="4268541" y="61089"/>
                </a:cubicBezTo>
                <a:cubicBezTo>
                  <a:pt x="4276941" y="70530"/>
                  <a:pt x="4281141" y="83683"/>
                  <a:pt x="4281141" y="100547"/>
                </a:cubicBezTo>
                <a:cubicBezTo>
                  <a:pt x="4281141" y="117867"/>
                  <a:pt x="4276908" y="131329"/>
                  <a:pt x="4268444" y="140933"/>
                </a:cubicBezTo>
                <a:cubicBezTo>
                  <a:pt x="4259979" y="150537"/>
                  <a:pt x="4249724" y="155339"/>
                  <a:pt x="4237678" y="155339"/>
                </a:cubicBezTo>
                <a:cubicBezTo>
                  <a:pt x="4231948" y="155339"/>
                  <a:pt x="4226756" y="154200"/>
                  <a:pt x="4222100" y="151921"/>
                </a:cubicBezTo>
                <a:cubicBezTo>
                  <a:pt x="4217445" y="149642"/>
                  <a:pt x="4212545" y="145735"/>
                  <a:pt x="4207401" y="140201"/>
                </a:cubicBezTo>
                <a:lnTo>
                  <a:pt x="4207401" y="192453"/>
                </a:lnTo>
                <a:lnTo>
                  <a:pt x="4179956" y="192453"/>
                </a:lnTo>
                <a:lnTo>
                  <a:pt x="4179956" y="49271"/>
                </a:lnTo>
                <a:lnTo>
                  <a:pt x="4205545" y="49271"/>
                </a:lnTo>
                <a:lnTo>
                  <a:pt x="4205545" y="64507"/>
                </a:lnTo>
                <a:cubicBezTo>
                  <a:pt x="4208866" y="59298"/>
                  <a:pt x="4213359" y="55066"/>
                  <a:pt x="4219024" y="51811"/>
                </a:cubicBezTo>
                <a:cubicBezTo>
                  <a:pt x="4224688" y="48555"/>
                  <a:pt x="4230972" y="46927"/>
                  <a:pt x="4237874" y="46927"/>
                </a:cubicBezTo>
                <a:close/>
                <a:moveTo>
                  <a:pt x="3941036" y="46927"/>
                </a:moveTo>
                <a:cubicBezTo>
                  <a:pt x="3947677" y="46927"/>
                  <a:pt x="3953440" y="48294"/>
                  <a:pt x="3958323" y="51029"/>
                </a:cubicBezTo>
                <a:cubicBezTo>
                  <a:pt x="3963207" y="53764"/>
                  <a:pt x="3967211" y="57899"/>
                  <a:pt x="3970336" y="63433"/>
                </a:cubicBezTo>
                <a:cubicBezTo>
                  <a:pt x="3974894" y="57899"/>
                  <a:pt x="3979810" y="53764"/>
                  <a:pt x="3985084" y="51029"/>
                </a:cubicBezTo>
                <a:cubicBezTo>
                  <a:pt x="3990358" y="48294"/>
                  <a:pt x="3995991" y="46927"/>
                  <a:pt x="4001981" y="46927"/>
                </a:cubicBezTo>
                <a:cubicBezTo>
                  <a:pt x="4009599" y="46927"/>
                  <a:pt x="4016045" y="48474"/>
                  <a:pt x="4021319" y="51566"/>
                </a:cubicBezTo>
                <a:cubicBezTo>
                  <a:pt x="4026593" y="54659"/>
                  <a:pt x="4030533" y="59201"/>
                  <a:pt x="4033137" y="65191"/>
                </a:cubicBezTo>
                <a:cubicBezTo>
                  <a:pt x="4035025" y="69619"/>
                  <a:pt x="4035970" y="76781"/>
                  <a:pt x="4035970" y="86678"/>
                </a:cubicBezTo>
                <a:lnTo>
                  <a:pt x="4035970" y="152995"/>
                </a:lnTo>
                <a:lnTo>
                  <a:pt x="4008525" y="152995"/>
                </a:lnTo>
                <a:lnTo>
                  <a:pt x="4008525" y="93710"/>
                </a:lnTo>
                <a:cubicBezTo>
                  <a:pt x="4008525" y="83423"/>
                  <a:pt x="4007581" y="76781"/>
                  <a:pt x="4005692" y="73786"/>
                </a:cubicBezTo>
                <a:cubicBezTo>
                  <a:pt x="4003153" y="69879"/>
                  <a:pt x="3999246" y="67926"/>
                  <a:pt x="3993972" y="67926"/>
                </a:cubicBezTo>
                <a:cubicBezTo>
                  <a:pt x="3990131" y="67926"/>
                  <a:pt x="3986517" y="69098"/>
                  <a:pt x="3983131" y="71442"/>
                </a:cubicBezTo>
                <a:cubicBezTo>
                  <a:pt x="3979745" y="73786"/>
                  <a:pt x="3977303" y="77221"/>
                  <a:pt x="3975806" y="81746"/>
                </a:cubicBezTo>
                <a:cubicBezTo>
                  <a:pt x="3974308" y="86271"/>
                  <a:pt x="3973559" y="93417"/>
                  <a:pt x="3973559" y="103184"/>
                </a:cubicBezTo>
                <a:lnTo>
                  <a:pt x="3973559" y="152995"/>
                </a:lnTo>
                <a:lnTo>
                  <a:pt x="3946115" y="152995"/>
                </a:lnTo>
                <a:lnTo>
                  <a:pt x="3946115" y="96152"/>
                </a:lnTo>
                <a:cubicBezTo>
                  <a:pt x="3946115" y="86060"/>
                  <a:pt x="3945626" y="79548"/>
                  <a:pt x="3944650" y="76618"/>
                </a:cubicBezTo>
                <a:cubicBezTo>
                  <a:pt x="3943673" y="73688"/>
                  <a:pt x="3942159" y="71507"/>
                  <a:pt x="3940108" y="70075"/>
                </a:cubicBezTo>
                <a:cubicBezTo>
                  <a:pt x="3938057" y="68642"/>
                  <a:pt x="3935273" y="67926"/>
                  <a:pt x="3931757" y="67926"/>
                </a:cubicBezTo>
                <a:cubicBezTo>
                  <a:pt x="3927525" y="67926"/>
                  <a:pt x="3923716" y="69065"/>
                  <a:pt x="3920330" y="71344"/>
                </a:cubicBezTo>
                <a:cubicBezTo>
                  <a:pt x="3916944" y="73623"/>
                  <a:pt x="3914519" y="76911"/>
                  <a:pt x="3913054" y="81209"/>
                </a:cubicBezTo>
                <a:cubicBezTo>
                  <a:pt x="3911589" y="85506"/>
                  <a:pt x="3910856" y="92636"/>
                  <a:pt x="3910856" y="102598"/>
                </a:cubicBezTo>
                <a:lnTo>
                  <a:pt x="3910856" y="152995"/>
                </a:lnTo>
                <a:lnTo>
                  <a:pt x="3883411" y="152995"/>
                </a:lnTo>
                <a:lnTo>
                  <a:pt x="3883411" y="49271"/>
                </a:lnTo>
                <a:lnTo>
                  <a:pt x="3908708" y="49271"/>
                </a:lnTo>
                <a:lnTo>
                  <a:pt x="3908708" y="63433"/>
                </a:lnTo>
                <a:cubicBezTo>
                  <a:pt x="3917758" y="52429"/>
                  <a:pt x="3928534" y="46927"/>
                  <a:pt x="3941036" y="46927"/>
                </a:cubicBezTo>
                <a:close/>
                <a:moveTo>
                  <a:pt x="3810718" y="46927"/>
                </a:moveTo>
                <a:cubicBezTo>
                  <a:pt x="3826150" y="46927"/>
                  <a:pt x="3838326" y="52022"/>
                  <a:pt x="3847246" y="62212"/>
                </a:cubicBezTo>
                <a:cubicBezTo>
                  <a:pt x="3856167" y="72402"/>
                  <a:pt x="3860431" y="88013"/>
                  <a:pt x="3860041" y="109044"/>
                </a:cubicBezTo>
                <a:lnTo>
                  <a:pt x="3791282" y="109044"/>
                </a:lnTo>
                <a:cubicBezTo>
                  <a:pt x="3791478" y="117183"/>
                  <a:pt x="3793691" y="123515"/>
                  <a:pt x="3797924" y="128041"/>
                </a:cubicBezTo>
                <a:cubicBezTo>
                  <a:pt x="3802156" y="132566"/>
                  <a:pt x="3807430" y="134829"/>
                  <a:pt x="3813746" y="134829"/>
                </a:cubicBezTo>
                <a:cubicBezTo>
                  <a:pt x="3818043" y="134829"/>
                  <a:pt x="3821657" y="133657"/>
                  <a:pt x="3824587" y="131313"/>
                </a:cubicBezTo>
                <a:cubicBezTo>
                  <a:pt x="3827517" y="128969"/>
                  <a:pt x="3829731" y="125192"/>
                  <a:pt x="3831229" y="119983"/>
                </a:cubicBezTo>
                <a:lnTo>
                  <a:pt x="3858576" y="124574"/>
                </a:lnTo>
                <a:cubicBezTo>
                  <a:pt x="3855060" y="134601"/>
                  <a:pt x="3849509" y="142235"/>
                  <a:pt x="3841923" y="147477"/>
                </a:cubicBezTo>
                <a:cubicBezTo>
                  <a:pt x="3834338" y="152718"/>
                  <a:pt x="3824848" y="155339"/>
                  <a:pt x="3813453" y="155339"/>
                </a:cubicBezTo>
                <a:cubicBezTo>
                  <a:pt x="3795417" y="155339"/>
                  <a:pt x="3782069" y="149446"/>
                  <a:pt x="3773409" y="137661"/>
                </a:cubicBezTo>
                <a:cubicBezTo>
                  <a:pt x="3766572" y="128220"/>
                  <a:pt x="3763154" y="116304"/>
                  <a:pt x="3763154" y="101914"/>
                </a:cubicBezTo>
                <a:cubicBezTo>
                  <a:pt x="3763154" y="84725"/>
                  <a:pt x="3767646" y="71263"/>
                  <a:pt x="3776632" y="61529"/>
                </a:cubicBezTo>
                <a:cubicBezTo>
                  <a:pt x="3785617" y="51794"/>
                  <a:pt x="3796980" y="46927"/>
                  <a:pt x="3810718" y="46927"/>
                </a:cubicBezTo>
                <a:close/>
                <a:moveTo>
                  <a:pt x="1659485" y="46927"/>
                </a:moveTo>
                <a:cubicBezTo>
                  <a:pt x="1665540" y="46927"/>
                  <a:pt x="1671075" y="48018"/>
                  <a:pt x="1676088" y="50199"/>
                </a:cubicBezTo>
                <a:cubicBezTo>
                  <a:pt x="1681102" y="52380"/>
                  <a:pt x="1684895" y="55164"/>
                  <a:pt x="1687467" y="58550"/>
                </a:cubicBezTo>
                <a:cubicBezTo>
                  <a:pt x="1690039" y="61936"/>
                  <a:pt x="1691829" y="65777"/>
                  <a:pt x="1692839" y="70075"/>
                </a:cubicBezTo>
                <a:cubicBezTo>
                  <a:pt x="1693848" y="74372"/>
                  <a:pt x="1694352" y="80525"/>
                  <a:pt x="1694352" y="88534"/>
                </a:cubicBezTo>
                <a:lnTo>
                  <a:pt x="1694352" y="152995"/>
                </a:lnTo>
                <a:lnTo>
                  <a:pt x="1666907" y="152995"/>
                </a:lnTo>
                <a:lnTo>
                  <a:pt x="1666907" y="100059"/>
                </a:lnTo>
                <a:cubicBezTo>
                  <a:pt x="1666907" y="88859"/>
                  <a:pt x="1666321" y="81616"/>
                  <a:pt x="1665149" y="78328"/>
                </a:cubicBezTo>
                <a:cubicBezTo>
                  <a:pt x="1663977" y="75039"/>
                  <a:pt x="1662073" y="72484"/>
                  <a:pt x="1659436" y="70661"/>
                </a:cubicBezTo>
                <a:cubicBezTo>
                  <a:pt x="1656799" y="68837"/>
                  <a:pt x="1653624" y="67926"/>
                  <a:pt x="1649913" y="67926"/>
                </a:cubicBezTo>
                <a:cubicBezTo>
                  <a:pt x="1645160" y="67926"/>
                  <a:pt x="1640895" y="69228"/>
                  <a:pt x="1637118" y="71833"/>
                </a:cubicBezTo>
                <a:cubicBezTo>
                  <a:pt x="1633342" y="74437"/>
                  <a:pt x="1630754" y="77888"/>
                  <a:pt x="1629354" y="82185"/>
                </a:cubicBezTo>
                <a:cubicBezTo>
                  <a:pt x="1627954" y="86483"/>
                  <a:pt x="1627254" y="94427"/>
                  <a:pt x="1627254" y="106017"/>
                </a:cubicBezTo>
                <a:lnTo>
                  <a:pt x="1627254" y="152995"/>
                </a:lnTo>
                <a:lnTo>
                  <a:pt x="1599809" y="152995"/>
                </a:lnTo>
                <a:lnTo>
                  <a:pt x="1599809" y="49271"/>
                </a:lnTo>
                <a:lnTo>
                  <a:pt x="1625301" y="49271"/>
                </a:lnTo>
                <a:lnTo>
                  <a:pt x="1625301" y="64507"/>
                </a:lnTo>
                <a:cubicBezTo>
                  <a:pt x="1634351" y="52787"/>
                  <a:pt x="1645746" y="46927"/>
                  <a:pt x="1659485" y="46927"/>
                </a:cubicBezTo>
                <a:close/>
                <a:moveTo>
                  <a:pt x="1525261" y="46927"/>
                </a:moveTo>
                <a:cubicBezTo>
                  <a:pt x="1540692" y="46927"/>
                  <a:pt x="1552868" y="52022"/>
                  <a:pt x="1561788" y="62212"/>
                </a:cubicBezTo>
                <a:cubicBezTo>
                  <a:pt x="1570709" y="72402"/>
                  <a:pt x="1574974" y="88013"/>
                  <a:pt x="1574583" y="109044"/>
                </a:cubicBezTo>
                <a:lnTo>
                  <a:pt x="1505824" y="109044"/>
                </a:lnTo>
                <a:cubicBezTo>
                  <a:pt x="1506020" y="117183"/>
                  <a:pt x="1508233" y="123515"/>
                  <a:pt x="1512466" y="128041"/>
                </a:cubicBezTo>
                <a:cubicBezTo>
                  <a:pt x="1516698" y="132566"/>
                  <a:pt x="1521972" y="134829"/>
                  <a:pt x="1528288" y="134829"/>
                </a:cubicBezTo>
                <a:cubicBezTo>
                  <a:pt x="1532585" y="134829"/>
                  <a:pt x="1536199" y="133657"/>
                  <a:pt x="1539129" y="131313"/>
                </a:cubicBezTo>
                <a:cubicBezTo>
                  <a:pt x="1542059" y="128969"/>
                  <a:pt x="1544273" y="125192"/>
                  <a:pt x="1545771" y="119983"/>
                </a:cubicBezTo>
                <a:lnTo>
                  <a:pt x="1573118" y="124574"/>
                </a:lnTo>
                <a:cubicBezTo>
                  <a:pt x="1569602" y="134601"/>
                  <a:pt x="1564051" y="142235"/>
                  <a:pt x="1556465" y="147477"/>
                </a:cubicBezTo>
                <a:cubicBezTo>
                  <a:pt x="1548880" y="152718"/>
                  <a:pt x="1539390" y="155339"/>
                  <a:pt x="1527995" y="155339"/>
                </a:cubicBezTo>
                <a:cubicBezTo>
                  <a:pt x="1509959" y="155339"/>
                  <a:pt x="1496611" y="149446"/>
                  <a:pt x="1487951" y="137661"/>
                </a:cubicBezTo>
                <a:cubicBezTo>
                  <a:pt x="1481114" y="128220"/>
                  <a:pt x="1477696" y="116304"/>
                  <a:pt x="1477696" y="101914"/>
                </a:cubicBezTo>
                <a:cubicBezTo>
                  <a:pt x="1477696" y="84725"/>
                  <a:pt x="1482188" y="71263"/>
                  <a:pt x="1491174" y="61529"/>
                </a:cubicBezTo>
                <a:cubicBezTo>
                  <a:pt x="1500160" y="51794"/>
                  <a:pt x="1511521" y="46927"/>
                  <a:pt x="1525261" y="46927"/>
                </a:cubicBezTo>
                <a:close/>
                <a:moveTo>
                  <a:pt x="1360303" y="46927"/>
                </a:moveTo>
                <a:cubicBezTo>
                  <a:pt x="1366944" y="46927"/>
                  <a:pt x="1372707" y="48294"/>
                  <a:pt x="1377590" y="51029"/>
                </a:cubicBezTo>
                <a:cubicBezTo>
                  <a:pt x="1382474" y="53764"/>
                  <a:pt x="1386478" y="57899"/>
                  <a:pt x="1389603" y="63433"/>
                </a:cubicBezTo>
                <a:cubicBezTo>
                  <a:pt x="1394161" y="57899"/>
                  <a:pt x="1399077" y="53764"/>
                  <a:pt x="1404351" y="51029"/>
                </a:cubicBezTo>
                <a:cubicBezTo>
                  <a:pt x="1409625" y="48294"/>
                  <a:pt x="1415258" y="46927"/>
                  <a:pt x="1421248" y="46927"/>
                </a:cubicBezTo>
                <a:cubicBezTo>
                  <a:pt x="1428866" y="46927"/>
                  <a:pt x="1435312" y="48474"/>
                  <a:pt x="1440586" y="51566"/>
                </a:cubicBezTo>
                <a:cubicBezTo>
                  <a:pt x="1445860" y="54659"/>
                  <a:pt x="1449800" y="59201"/>
                  <a:pt x="1452404" y="65191"/>
                </a:cubicBezTo>
                <a:cubicBezTo>
                  <a:pt x="1454292" y="69619"/>
                  <a:pt x="1455237" y="76781"/>
                  <a:pt x="1455237" y="86678"/>
                </a:cubicBezTo>
                <a:lnTo>
                  <a:pt x="1455237" y="152995"/>
                </a:lnTo>
                <a:lnTo>
                  <a:pt x="1427792" y="152995"/>
                </a:lnTo>
                <a:lnTo>
                  <a:pt x="1427792" y="93710"/>
                </a:lnTo>
                <a:cubicBezTo>
                  <a:pt x="1427792" y="83423"/>
                  <a:pt x="1426848" y="76781"/>
                  <a:pt x="1424959" y="73786"/>
                </a:cubicBezTo>
                <a:cubicBezTo>
                  <a:pt x="1422420" y="69879"/>
                  <a:pt x="1418513" y="67926"/>
                  <a:pt x="1413239" y="67926"/>
                </a:cubicBezTo>
                <a:cubicBezTo>
                  <a:pt x="1409397" y="67926"/>
                  <a:pt x="1405784" y="69098"/>
                  <a:pt x="1402398" y="71442"/>
                </a:cubicBezTo>
                <a:cubicBezTo>
                  <a:pt x="1399012" y="73786"/>
                  <a:pt x="1396570" y="77221"/>
                  <a:pt x="1395073" y="81746"/>
                </a:cubicBezTo>
                <a:cubicBezTo>
                  <a:pt x="1393576" y="86271"/>
                  <a:pt x="1392826" y="93417"/>
                  <a:pt x="1392826" y="103184"/>
                </a:cubicBezTo>
                <a:lnTo>
                  <a:pt x="1392826" y="152995"/>
                </a:lnTo>
                <a:lnTo>
                  <a:pt x="1365382" y="152995"/>
                </a:lnTo>
                <a:lnTo>
                  <a:pt x="1365382" y="96152"/>
                </a:lnTo>
                <a:cubicBezTo>
                  <a:pt x="1365382" y="86060"/>
                  <a:pt x="1364893" y="79548"/>
                  <a:pt x="1363917" y="76618"/>
                </a:cubicBezTo>
                <a:cubicBezTo>
                  <a:pt x="1362940" y="73688"/>
                  <a:pt x="1361426" y="71507"/>
                  <a:pt x="1359375" y="70075"/>
                </a:cubicBezTo>
                <a:cubicBezTo>
                  <a:pt x="1357324" y="68642"/>
                  <a:pt x="1354540" y="67926"/>
                  <a:pt x="1351025" y="67926"/>
                </a:cubicBezTo>
                <a:cubicBezTo>
                  <a:pt x="1346792" y="67926"/>
                  <a:pt x="1342983" y="69065"/>
                  <a:pt x="1339597" y="71344"/>
                </a:cubicBezTo>
                <a:cubicBezTo>
                  <a:pt x="1336211" y="73623"/>
                  <a:pt x="1333786" y="76911"/>
                  <a:pt x="1332321" y="81209"/>
                </a:cubicBezTo>
                <a:cubicBezTo>
                  <a:pt x="1330856" y="85506"/>
                  <a:pt x="1330123" y="92636"/>
                  <a:pt x="1330123" y="102598"/>
                </a:cubicBezTo>
                <a:lnTo>
                  <a:pt x="1330123" y="152995"/>
                </a:lnTo>
                <a:lnTo>
                  <a:pt x="1302679" y="152995"/>
                </a:lnTo>
                <a:lnTo>
                  <a:pt x="1302679" y="49271"/>
                </a:lnTo>
                <a:lnTo>
                  <a:pt x="1327975" y="49271"/>
                </a:lnTo>
                <a:lnTo>
                  <a:pt x="1327975" y="63433"/>
                </a:lnTo>
                <a:cubicBezTo>
                  <a:pt x="1337025" y="52429"/>
                  <a:pt x="1347801" y="46927"/>
                  <a:pt x="1360303" y="46927"/>
                </a:cubicBezTo>
                <a:close/>
                <a:moveTo>
                  <a:pt x="1123206" y="46927"/>
                </a:moveTo>
                <a:cubicBezTo>
                  <a:pt x="1138898" y="46927"/>
                  <a:pt x="1151758" y="52022"/>
                  <a:pt x="1161785" y="62212"/>
                </a:cubicBezTo>
                <a:cubicBezTo>
                  <a:pt x="1171812" y="72402"/>
                  <a:pt x="1176826" y="85278"/>
                  <a:pt x="1176826" y="100840"/>
                </a:cubicBezTo>
                <a:cubicBezTo>
                  <a:pt x="1176826" y="116532"/>
                  <a:pt x="1171763" y="129538"/>
                  <a:pt x="1161638" y="139859"/>
                </a:cubicBezTo>
                <a:cubicBezTo>
                  <a:pt x="1151513" y="150179"/>
                  <a:pt x="1138768" y="155339"/>
                  <a:pt x="1123401" y="155339"/>
                </a:cubicBezTo>
                <a:cubicBezTo>
                  <a:pt x="1113895" y="155339"/>
                  <a:pt x="1104828" y="153190"/>
                  <a:pt x="1096200" y="148893"/>
                </a:cubicBezTo>
                <a:cubicBezTo>
                  <a:pt x="1087573" y="144596"/>
                  <a:pt x="1081013" y="138296"/>
                  <a:pt x="1076520" y="129994"/>
                </a:cubicBezTo>
                <a:cubicBezTo>
                  <a:pt x="1072028" y="121692"/>
                  <a:pt x="1069781" y="111584"/>
                  <a:pt x="1069781" y="99668"/>
                </a:cubicBezTo>
                <a:cubicBezTo>
                  <a:pt x="1069781" y="90552"/>
                  <a:pt x="1072028" y="81730"/>
                  <a:pt x="1076520" y="73200"/>
                </a:cubicBezTo>
                <a:cubicBezTo>
                  <a:pt x="1081013" y="64670"/>
                  <a:pt x="1087378" y="58159"/>
                  <a:pt x="1095614" y="53666"/>
                </a:cubicBezTo>
                <a:cubicBezTo>
                  <a:pt x="1103851" y="49173"/>
                  <a:pt x="1113048" y="46927"/>
                  <a:pt x="1123206" y="46927"/>
                </a:cubicBezTo>
                <a:close/>
                <a:moveTo>
                  <a:pt x="961816" y="46927"/>
                </a:moveTo>
                <a:cubicBezTo>
                  <a:pt x="973862" y="46927"/>
                  <a:pt x="984084" y="51648"/>
                  <a:pt x="992483" y="61089"/>
                </a:cubicBezTo>
                <a:cubicBezTo>
                  <a:pt x="1000883" y="70530"/>
                  <a:pt x="1005083" y="83683"/>
                  <a:pt x="1005083" y="100547"/>
                </a:cubicBezTo>
                <a:cubicBezTo>
                  <a:pt x="1005083" y="117867"/>
                  <a:pt x="1000850" y="131329"/>
                  <a:pt x="992386" y="140933"/>
                </a:cubicBezTo>
                <a:cubicBezTo>
                  <a:pt x="983921" y="150537"/>
                  <a:pt x="973666" y="155339"/>
                  <a:pt x="961620" y="155339"/>
                </a:cubicBezTo>
                <a:cubicBezTo>
                  <a:pt x="955891" y="155339"/>
                  <a:pt x="950698" y="154200"/>
                  <a:pt x="946042" y="151921"/>
                </a:cubicBezTo>
                <a:cubicBezTo>
                  <a:pt x="941387" y="149642"/>
                  <a:pt x="936487" y="145735"/>
                  <a:pt x="931343" y="140201"/>
                </a:cubicBezTo>
                <a:lnTo>
                  <a:pt x="931343" y="192453"/>
                </a:lnTo>
                <a:lnTo>
                  <a:pt x="903898" y="192453"/>
                </a:lnTo>
                <a:lnTo>
                  <a:pt x="903898" y="49271"/>
                </a:lnTo>
                <a:lnTo>
                  <a:pt x="929487" y="49271"/>
                </a:lnTo>
                <a:lnTo>
                  <a:pt x="929487" y="64507"/>
                </a:lnTo>
                <a:cubicBezTo>
                  <a:pt x="932808" y="59298"/>
                  <a:pt x="937301" y="55066"/>
                  <a:pt x="942965" y="51811"/>
                </a:cubicBezTo>
                <a:cubicBezTo>
                  <a:pt x="948630" y="48555"/>
                  <a:pt x="954914" y="46927"/>
                  <a:pt x="961816" y="46927"/>
                </a:cubicBezTo>
                <a:close/>
                <a:moveTo>
                  <a:pt x="829935" y="46927"/>
                </a:moveTo>
                <a:cubicBezTo>
                  <a:pt x="845367" y="46927"/>
                  <a:pt x="857543" y="52022"/>
                  <a:pt x="866463" y="62212"/>
                </a:cubicBezTo>
                <a:cubicBezTo>
                  <a:pt x="875384" y="72402"/>
                  <a:pt x="879649" y="88013"/>
                  <a:pt x="879258" y="109044"/>
                </a:cubicBezTo>
                <a:lnTo>
                  <a:pt x="810499" y="109044"/>
                </a:lnTo>
                <a:cubicBezTo>
                  <a:pt x="810694" y="117183"/>
                  <a:pt x="812908" y="123515"/>
                  <a:pt x="817141" y="128041"/>
                </a:cubicBezTo>
                <a:cubicBezTo>
                  <a:pt x="821373" y="132566"/>
                  <a:pt x="826647" y="134829"/>
                  <a:pt x="832963" y="134829"/>
                </a:cubicBezTo>
                <a:cubicBezTo>
                  <a:pt x="837260" y="134829"/>
                  <a:pt x="840874" y="133657"/>
                  <a:pt x="843804" y="131313"/>
                </a:cubicBezTo>
                <a:cubicBezTo>
                  <a:pt x="846734" y="128969"/>
                  <a:pt x="848948" y="125192"/>
                  <a:pt x="850446" y="119983"/>
                </a:cubicBezTo>
                <a:lnTo>
                  <a:pt x="877793" y="124574"/>
                </a:lnTo>
                <a:cubicBezTo>
                  <a:pt x="874277" y="134601"/>
                  <a:pt x="868726" y="142235"/>
                  <a:pt x="861140" y="147477"/>
                </a:cubicBezTo>
                <a:cubicBezTo>
                  <a:pt x="853555" y="152718"/>
                  <a:pt x="844065" y="155339"/>
                  <a:pt x="832670" y="155339"/>
                </a:cubicBezTo>
                <a:cubicBezTo>
                  <a:pt x="814634" y="155339"/>
                  <a:pt x="801286" y="149446"/>
                  <a:pt x="792626" y="137661"/>
                </a:cubicBezTo>
                <a:cubicBezTo>
                  <a:pt x="785789" y="128220"/>
                  <a:pt x="782371" y="116304"/>
                  <a:pt x="782371" y="101914"/>
                </a:cubicBezTo>
                <a:cubicBezTo>
                  <a:pt x="782371" y="84725"/>
                  <a:pt x="786864" y="71263"/>
                  <a:pt x="795849" y="61529"/>
                </a:cubicBezTo>
                <a:cubicBezTo>
                  <a:pt x="804835" y="51794"/>
                  <a:pt x="816197" y="46927"/>
                  <a:pt x="829935" y="46927"/>
                </a:cubicBezTo>
                <a:close/>
                <a:moveTo>
                  <a:pt x="520298" y="46927"/>
                </a:moveTo>
                <a:cubicBezTo>
                  <a:pt x="532930" y="46927"/>
                  <a:pt x="542974" y="49646"/>
                  <a:pt x="550429" y="55082"/>
                </a:cubicBezTo>
                <a:cubicBezTo>
                  <a:pt x="557884" y="60519"/>
                  <a:pt x="563240" y="68805"/>
                  <a:pt x="566495" y="79939"/>
                </a:cubicBezTo>
                <a:lnTo>
                  <a:pt x="539441" y="84822"/>
                </a:lnTo>
                <a:cubicBezTo>
                  <a:pt x="538530" y="79418"/>
                  <a:pt x="536463" y="75349"/>
                  <a:pt x="533240" y="72614"/>
                </a:cubicBezTo>
                <a:cubicBezTo>
                  <a:pt x="530016" y="69879"/>
                  <a:pt x="525833" y="68512"/>
                  <a:pt x="520689" y="68512"/>
                </a:cubicBezTo>
                <a:cubicBezTo>
                  <a:pt x="513852" y="68512"/>
                  <a:pt x="508399" y="70872"/>
                  <a:pt x="504330" y="75593"/>
                </a:cubicBezTo>
                <a:cubicBezTo>
                  <a:pt x="500260" y="80313"/>
                  <a:pt x="498225" y="88208"/>
                  <a:pt x="498225" y="99277"/>
                </a:cubicBezTo>
                <a:cubicBezTo>
                  <a:pt x="498225" y="111584"/>
                  <a:pt x="500293" y="120276"/>
                  <a:pt x="504427" y="125355"/>
                </a:cubicBezTo>
                <a:cubicBezTo>
                  <a:pt x="508562" y="130434"/>
                  <a:pt x="514113" y="132973"/>
                  <a:pt x="521080" y="132973"/>
                </a:cubicBezTo>
                <a:cubicBezTo>
                  <a:pt x="526289" y="132973"/>
                  <a:pt x="530554" y="131492"/>
                  <a:pt x="533874" y="128529"/>
                </a:cubicBezTo>
                <a:cubicBezTo>
                  <a:pt x="537195" y="125567"/>
                  <a:pt x="539539" y="120471"/>
                  <a:pt x="540907" y="113244"/>
                </a:cubicBezTo>
                <a:lnTo>
                  <a:pt x="567863" y="117834"/>
                </a:lnTo>
                <a:cubicBezTo>
                  <a:pt x="565063" y="130206"/>
                  <a:pt x="559691" y="139549"/>
                  <a:pt x="551748" y="145865"/>
                </a:cubicBezTo>
                <a:cubicBezTo>
                  <a:pt x="543804" y="152181"/>
                  <a:pt x="533158" y="155339"/>
                  <a:pt x="519810" y="155339"/>
                </a:cubicBezTo>
                <a:cubicBezTo>
                  <a:pt x="504639" y="155339"/>
                  <a:pt x="492544" y="150553"/>
                  <a:pt x="483526" y="140982"/>
                </a:cubicBezTo>
                <a:cubicBezTo>
                  <a:pt x="474508" y="131410"/>
                  <a:pt x="469999" y="118160"/>
                  <a:pt x="469999" y="101231"/>
                </a:cubicBezTo>
                <a:cubicBezTo>
                  <a:pt x="469999" y="84106"/>
                  <a:pt x="474524" y="70775"/>
                  <a:pt x="483575" y="61236"/>
                </a:cubicBezTo>
                <a:cubicBezTo>
                  <a:pt x="492626" y="51697"/>
                  <a:pt x="504867" y="46927"/>
                  <a:pt x="520298" y="46927"/>
                </a:cubicBezTo>
                <a:close/>
                <a:moveTo>
                  <a:pt x="28910" y="34035"/>
                </a:moveTo>
                <a:lnTo>
                  <a:pt x="28910" y="74665"/>
                </a:lnTo>
                <a:lnTo>
                  <a:pt x="44732" y="74665"/>
                </a:lnTo>
                <a:cubicBezTo>
                  <a:pt x="56127" y="74665"/>
                  <a:pt x="63745" y="73916"/>
                  <a:pt x="67587" y="72419"/>
                </a:cubicBezTo>
                <a:cubicBezTo>
                  <a:pt x="71428" y="70921"/>
                  <a:pt x="74440" y="68577"/>
                  <a:pt x="76621" y="65386"/>
                </a:cubicBezTo>
                <a:cubicBezTo>
                  <a:pt x="78802" y="62196"/>
                  <a:pt x="79893" y="58485"/>
                  <a:pt x="79893" y="54252"/>
                </a:cubicBezTo>
                <a:cubicBezTo>
                  <a:pt x="79893" y="49043"/>
                  <a:pt x="78363" y="44746"/>
                  <a:pt x="75302" y="41360"/>
                </a:cubicBezTo>
                <a:cubicBezTo>
                  <a:pt x="72242" y="37974"/>
                  <a:pt x="68368" y="35858"/>
                  <a:pt x="63680" y="35012"/>
                </a:cubicBezTo>
                <a:cubicBezTo>
                  <a:pt x="60229" y="34360"/>
                  <a:pt x="53294" y="34035"/>
                  <a:pt x="42876" y="34035"/>
                </a:cubicBezTo>
                <a:close/>
                <a:moveTo>
                  <a:pt x="9625506" y="12645"/>
                </a:moveTo>
                <a:lnTo>
                  <a:pt x="9625506" y="49271"/>
                </a:lnTo>
                <a:lnTo>
                  <a:pt x="9644258" y="49271"/>
                </a:lnTo>
                <a:lnTo>
                  <a:pt x="9644258" y="71149"/>
                </a:lnTo>
                <a:lnTo>
                  <a:pt x="9625506" y="71149"/>
                </a:lnTo>
                <a:lnTo>
                  <a:pt x="9625506" y="112951"/>
                </a:lnTo>
                <a:cubicBezTo>
                  <a:pt x="9625506" y="121416"/>
                  <a:pt x="9625684" y="126348"/>
                  <a:pt x="9626043" y="127748"/>
                </a:cubicBezTo>
                <a:cubicBezTo>
                  <a:pt x="9626400" y="129148"/>
                  <a:pt x="9627215" y="130303"/>
                  <a:pt x="9628484" y="131215"/>
                </a:cubicBezTo>
                <a:cubicBezTo>
                  <a:pt x="9629754" y="132127"/>
                  <a:pt x="9631300" y="132582"/>
                  <a:pt x="9633124" y="132582"/>
                </a:cubicBezTo>
                <a:cubicBezTo>
                  <a:pt x="9635663" y="132582"/>
                  <a:pt x="9639342" y="131703"/>
                  <a:pt x="9644160" y="129945"/>
                </a:cubicBezTo>
                <a:lnTo>
                  <a:pt x="9646504" y="151237"/>
                </a:lnTo>
                <a:cubicBezTo>
                  <a:pt x="9640123" y="153972"/>
                  <a:pt x="9632896" y="155339"/>
                  <a:pt x="9624822" y="155339"/>
                </a:cubicBezTo>
                <a:cubicBezTo>
                  <a:pt x="9619873" y="155339"/>
                  <a:pt x="9615413" y="154509"/>
                  <a:pt x="9611441" y="152849"/>
                </a:cubicBezTo>
                <a:cubicBezTo>
                  <a:pt x="9607470" y="151188"/>
                  <a:pt x="9604556" y="149039"/>
                  <a:pt x="9602700" y="146402"/>
                </a:cubicBezTo>
                <a:cubicBezTo>
                  <a:pt x="9600844" y="143765"/>
                  <a:pt x="9599558" y="140201"/>
                  <a:pt x="9598842" y="135708"/>
                </a:cubicBezTo>
                <a:cubicBezTo>
                  <a:pt x="9598256" y="132517"/>
                  <a:pt x="9597963" y="126071"/>
                  <a:pt x="9597963" y="116369"/>
                </a:cubicBezTo>
                <a:lnTo>
                  <a:pt x="9597963" y="71149"/>
                </a:lnTo>
                <a:lnTo>
                  <a:pt x="9585364" y="71149"/>
                </a:lnTo>
                <a:lnTo>
                  <a:pt x="9585364" y="49271"/>
                </a:lnTo>
                <a:lnTo>
                  <a:pt x="9597963" y="49271"/>
                </a:lnTo>
                <a:lnTo>
                  <a:pt x="9597963" y="28663"/>
                </a:lnTo>
                <a:close/>
                <a:moveTo>
                  <a:pt x="8330106" y="12645"/>
                </a:moveTo>
                <a:lnTo>
                  <a:pt x="8330106" y="49271"/>
                </a:lnTo>
                <a:lnTo>
                  <a:pt x="8348858" y="49271"/>
                </a:lnTo>
                <a:lnTo>
                  <a:pt x="8348858" y="71149"/>
                </a:lnTo>
                <a:lnTo>
                  <a:pt x="8330106" y="71149"/>
                </a:lnTo>
                <a:lnTo>
                  <a:pt x="8330106" y="112951"/>
                </a:lnTo>
                <a:cubicBezTo>
                  <a:pt x="8330106" y="121416"/>
                  <a:pt x="8330285" y="126348"/>
                  <a:pt x="8330643" y="127748"/>
                </a:cubicBezTo>
                <a:cubicBezTo>
                  <a:pt x="8331001" y="129148"/>
                  <a:pt x="8331815" y="130303"/>
                  <a:pt x="8333084" y="131215"/>
                </a:cubicBezTo>
                <a:cubicBezTo>
                  <a:pt x="8334354" y="132127"/>
                  <a:pt x="8335900" y="132582"/>
                  <a:pt x="8337724" y="132582"/>
                </a:cubicBezTo>
                <a:cubicBezTo>
                  <a:pt x="8340263" y="132582"/>
                  <a:pt x="8343942" y="131703"/>
                  <a:pt x="8348760" y="129945"/>
                </a:cubicBezTo>
                <a:lnTo>
                  <a:pt x="8351104" y="151237"/>
                </a:lnTo>
                <a:cubicBezTo>
                  <a:pt x="8344723" y="153972"/>
                  <a:pt x="8337496" y="155339"/>
                  <a:pt x="8329422" y="155339"/>
                </a:cubicBezTo>
                <a:cubicBezTo>
                  <a:pt x="8324473" y="155339"/>
                  <a:pt x="8320013" y="154509"/>
                  <a:pt x="8316041" y="152849"/>
                </a:cubicBezTo>
                <a:cubicBezTo>
                  <a:pt x="8312069" y="151188"/>
                  <a:pt x="8309156" y="149039"/>
                  <a:pt x="8307300" y="146402"/>
                </a:cubicBezTo>
                <a:cubicBezTo>
                  <a:pt x="8305444" y="143765"/>
                  <a:pt x="8304158" y="140201"/>
                  <a:pt x="8303442" y="135708"/>
                </a:cubicBezTo>
                <a:cubicBezTo>
                  <a:pt x="8302856" y="132517"/>
                  <a:pt x="8302563" y="126071"/>
                  <a:pt x="8302563" y="116369"/>
                </a:cubicBezTo>
                <a:lnTo>
                  <a:pt x="8302563" y="71149"/>
                </a:lnTo>
                <a:lnTo>
                  <a:pt x="8289964" y="71149"/>
                </a:lnTo>
                <a:lnTo>
                  <a:pt x="8289964" y="49271"/>
                </a:lnTo>
                <a:lnTo>
                  <a:pt x="8302563" y="49271"/>
                </a:lnTo>
                <a:lnTo>
                  <a:pt x="8302563" y="28663"/>
                </a:lnTo>
                <a:close/>
                <a:moveTo>
                  <a:pt x="5924050" y="12645"/>
                </a:moveTo>
                <a:lnTo>
                  <a:pt x="5924050" y="49271"/>
                </a:lnTo>
                <a:lnTo>
                  <a:pt x="5942802" y="49271"/>
                </a:lnTo>
                <a:lnTo>
                  <a:pt x="5942802" y="71149"/>
                </a:lnTo>
                <a:lnTo>
                  <a:pt x="5924050" y="71149"/>
                </a:lnTo>
                <a:lnTo>
                  <a:pt x="5924050" y="112951"/>
                </a:lnTo>
                <a:cubicBezTo>
                  <a:pt x="5924050" y="121416"/>
                  <a:pt x="5924229" y="126348"/>
                  <a:pt x="5924587" y="127748"/>
                </a:cubicBezTo>
                <a:cubicBezTo>
                  <a:pt x="5924945" y="129148"/>
                  <a:pt x="5925759" y="130303"/>
                  <a:pt x="5927028" y="131215"/>
                </a:cubicBezTo>
                <a:cubicBezTo>
                  <a:pt x="5928298" y="132127"/>
                  <a:pt x="5929845" y="132582"/>
                  <a:pt x="5931668" y="132582"/>
                </a:cubicBezTo>
                <a:cubicBezTo>
                  <a:pt x="5934207" y="132582"/>
                  <a:pt x="5937886" y="131703"/>
                  <a:pt x="5942704" y="129945"/>
                </a:cubicBezTo>
                <a:lnTo>
                  <a:pt x="5945048" y="151237"/>
                </a:lnTo>
                <a:cubicBezTo>
                  <a:pt x="5938667" y="153972"/>
                  <a:pt x="5931440" y="155339"/>
                  <a:pt x="5923366" y="155339"/>
                </a:cubicBezTo>
                <a:cubicBezTo>
                  <a:pt x="5918417" y="155339"/>
                  <a:pt x="5913957" y="154509"/>
                  <a:pt x="5909985" y="152849"/>
                </a:cubicBezTo>
                <a:cubicBezTo>
                  <a:pt x="5906013" y="151188"/>
                  <a:pt x="5903100" y="149039"/>
                  <a:pt x="5901244" y="146402"/>
                </a:cubicBezTo>
                <a:cubicBezTo>
                  <a:pt x="5899388" y="143765"/>
                  <a:pt x="5898102" y="140201"/>
                  <a:pt x="5897386" y="135708"/>
                </a:cubicBezTo>
                <a:cubicBezTo>
                  <a:pt x="5896800" y="132517"/>
                  <a:pt x="5896507" y="126071"/>
                  <a:pt x="5896507" y="116369"/>
                </a:cubicBezTo>
                <a:lnTo>
                  <a:pt x="5896507" y="71149"/>
                </a:lnTo>
                <a:lnTo>
                  <a:pt x="5883908" y="71149"/>
                </a:lnTo>
                <a:lnTo>
                  <a:pt x="5883908" y="49271"/>
                </a:lnTo>
                <a:lnTo>
                  <a:pt x="5896507" y="49271"/>
                </a:lnTo>
                <a:lnTo>
                  <a:pt x="5896507" y="28663"/>
                </a:lnTo>
                <a:close/>
                <a:moveTo>
                  <a:pt x="1752642" y="12645"/>
                </a:moveTo>
                <a:lnTo>
                  <a:pt x="1752642" y="49271"/>
                </a:lnTo>
                <a:lnTo>
                  <a:pt x="1771394" y="49271"/>
                </a:lnTo>
                <a:lnTo>
                  <a:pt x="1771394" y="71149"/>
                </a:lnTo>
                <a:lnTo>
                  <a:pt x="1752642" y="71149"/>
                </a:lnTo>
                <a:lnTo>
                  <a:pt x="1752642" y="112951"/>
                </a:lnTo>
                <a:cubicBezTo>
                  <a:pt x="1752642" y="121416"/>
                  <a:pt x="1752821" y="126348"/>
                  <a:pt x="1753179" y="127748"/>
                </a:cubicBezTo>
                <a:cubicBezTo>
                  <a:pt x="1753537" y="129148"/>
                  <a:pt x="1754351" y="130303"/>
                  <a:pt x="1755621" y="131215"/>
                </a:cubicBezTo>
                <a:cubicBezTo>
                  <a:pt x="1756890" y="132127"/>
                  <a:pt x="1758437" y="132582"/>
                  <a:pt x="1760260" y="132582"/>
                </a:cubicBezTo>
                <a:cubicBezTo>
                  <a:pt x="1762799" y="132582"/>
                  <a:pt x="1766478" y="131703"/>
                  <a:pt x="1771296" y="129945"/>
                </a:cubicBezTo>
                <a:lnTo>
                  <a:pt x="1773640" y="151237"/>
                </a:lnTo>
                <a:cubicBezTo>
                  <a:pt x="1767259" y="153972"/>
                  <a:pt x="1760032" y="155339"/>
                  <a:pt x="1751958" y="155339"/>
                </a:cubicBezTo>
                <a:cubicBezTo>
                  <a:pt x="1747010" y="155339"/>
                  <a:pt x="1742549" y="154509"/>
                  <a:pt x="1738578" y="152849"/>
                </a:cubicBezTo>
                <a:cubicBezTo>
                  <a:pt x="1734606" y="151188"/>
                  <a:pt x="1731692" y="149039"/>
                  <a:pt x="1729836" y="146402"/>
                </a:cubicBezTo>
                <a:cubicBezTo>
                  <a:pt x="1727980" y="143765"/>
                  <a:pt x="1726694" y="140201"/>
                  <a:pt x="1725978" y="135708"/>
                </a:cubicBezTo>
                <a:cubicBezTo>
                  <a:pt x="1725392" y="132517"/>
                  <a:pt x="1725099" y="126071"/>
                  <a:pt x="1725099" y="116369"/>
                </a:cubicBezTo>
                <a:lnTo>
                  <a:pt x="1725099" y="71149"/>
                </a:lnTo>
                <a:lnTo>
                  <a:pt x="1712500" y="71149"/>
                </a:lnTo>
                <a:lnTo>
                  <a:pt x="1712500" y="49271"/>
                </a:lnTo>
                <a:lnTo>
                  <a:pt x="1725099" y="49271"/>
                </a:lnTo>
                <a:lnTo>
                  <a:pt x="1725099" y="28663"/>
                </a:lnTo>
                <a:close/>
                <a:moveTo>
                  <a:pt x="7168795" y="10985"/>
                </a:moveTo>
                <a:lnTo>
                  <a:pt x="7197705" y="10985"/>
                </a:lnTo>
                <a:lnTo>
                  <a:pt x="7197705" y="128871"/>
                </a:lnTo>
                <a:lnTo>
                  <a:pt x="7269589" y="128871"/>
                </a:lnTo>
                <a:lnTo>
                  <a:pt x="7269589" y="152995"/>
                </a:lnTo>
                <a:lnTo>
                  <a:pt x="7168795" y="152995"/>
                </a:lnTo>
                <a:close/>
                <a:moveTo>
                  <a:pt x="8901368" y="9813"/>
                </a:moveTo>
                <a:lnTo>
                  <a:pt x="8928813" y="9813"/>
                </a:lnTo>
                <a:lnTo>
                  <a:pt x="8928813" y="152995"/>
                </a:lnTo>
                <a:lnTo>
                  <a:pt x="8901368" y="152995"/>
                </a:lnTo>
                <a:close/>
                <a:moveTo>
                  <a:pt x="8607102" y="9813"/>
                </a:moveTo>
                <a:lnTo>
                  <a:pt x="8634547" y="9813"/>
                </a:lnTo>
                <a:lnTo>
                  <a:pt x="8634547" y="152995"/>
                </a:lnTo>
                <a:lnTo>
                  <a:pt x="8609056" y="152995"/>
                </a:lnTo>
                <a:lnTo>
                  <a:pt x="8609056" y="137759"/>
                </a:lnTo>
                <a:cubicBezTo>
                  <a:pt x="8604824" y="143684"/>
                  <a:pt x="8599826" y="148095"/>
                  <a:pt x="8594064" y="150993"/>
                </a:cubicBezTo>
                <a:cubicBezTo>
                  <a:pt x="8588301" y="153890"/>
                  <a:pt x="8582490" y="155339"/>
                  <a:pt x="8576630" y="155339"/>
                </a:cubicBezTo>
                <a:cubicBezTo>
                  <a:pt x="8564714" y="155339"/>
                  <a:pt x="8554508" y="150537"/>
                  <a:pt x="8546011" y="140933"/>
                </a:cubicBezTo>
                <a:cubicBezTo>
                  <a:pt x="8537514" y="131329"/>
                  <a:pt x="8533265" y="117932"/>
                  <a:pt x="8533265" y="100742"/>
                </a:cubicBezTo>
                <a:cubicBezTo>
                  <a:pt x="8533265" y="83162"/>
                  <a:pt x="8537400" y="69798"/>
                  <a:pt x="8545669" y="60650"/>
                </a:cubicBezTo>
                <a:cubicBezTo>
                  <a:pt x="8553938" y="51501"/>
                  <a:pt x="8564389" y="46927"/>
                  <a:pt x="8577021" y="46927"/>
                </a:cubicBezTo>
                <a:cubicBezTo>
                  <a:pt x="8588611" y="46927"/>
                  <a:pt x="8598638" y="51745"/>
                  <a:pt x="8607102" y="61382"/>
                </a:cubicBezTo>
                <a:close/>
                <a:moveTo>
                  <a:pt x="8015543" y="9813"/>
                </a:moveTo>
                <a:lnTo>
                  <a:pt x="8042988" y="9813"/>
                </a:lnTo>
                <a:lnTo>
                  <a:pt x="8042988" y="35207"/>
                </a:lnTo>
                <a:lnTo>
                  <a:pt x="8015543" y="35207"/>
                </a:lnTo>
                <a:close/>
                <a:moveTo>
                  <a:pt x="7644068" y="9813"/>
                </a:moveTo>
                <a:lnTo>
                  <a:pt x="7671513" y="9813"/>
                </a:lnTo>
                <a:lnTo>
                  <a:pt x="7671513" y="152995"/>
                </a:lnTo>
                <a:lnTo>
                  <a:pt x="7644068" y="152995"/>
                </a:lnTo>
                <a:close/>
                <a:moveTo>
                  <a:pt x="5199913" y="9813"/>
                </a:moveTo>
                <a:lnTo>
                  <a:pt x="5227357" y="9813"/>
                </a:lnTo>
                <a:lnTo>
                  <a:pt x="5227357" y="152995"/>
                </a:lnTo>
                <a:lnTo>
                  <a:pt x="5199913" y="152995"/>
                </a:lnTo>
                <a:close/>
                <a:moveTo>
                  <a:pt x="4905647" y="9813"/>
                </a:moveTo>
                <a:lnTo>
                  <a:pt x="4933091" y="9813"/>
                </a:lnTo>
                <a:lnTo>
                  <a:pt x="4933091" y="152995"/>
                </a:lnTo>
                <a:lnTo>
                  <a:pt x="4907600" y="152995"/>
                </a:lnTo>
                <a:lnTo>
                  <a:pt x="4907600" y="137759"/>
                </a:lnTo>
                <a:cubicBezTo>
                  <a:pt x="4903368" y="143684"/>
                  <a:pt x="4898370" y="148095"/>
                  <a:pt x="4892608" y="150993"/>
                </a:cubicBezTo>
                <a:cubicBezTo>
                  <a:pt x="4886845" y="153890"/>
                  <a:pt x="4881034" y="155339"/>
                  <a:pt x="4875174" y="155339"/>
                </a:cubicBezTo>
                <a:cubicBezTo>
                  <a:pt x="4863259" y="155339"/>
                  <a:pt x="4853052" y="150537"/>
                  <a:pt x="4844555" y="140933"/>
                </a:cubicBezTo>
                <a:cubicBezTo>
                  <a:pt x="4836058" y="131329"/>
                  <a:pt x="4831809" y="117932"/>
                  <a:pt x="4831809" y="100742"/>
                </a:cubicBezTo>
                <a:cubicBezTo>
                  <a:pt x="4831809" y="83162"/>
                  <a:pt x="4835944" y="69798"/>
                  <a:pt x="4844213" y="60650"/>
                </a:cubicBezTo>
                <a:cubicBezTo>
                  <a:pt x="4852482" y="51501"/>
                  <a:pt x="4862933" y="46927"/>
                  <a:pt x="4875565" y="46927"/>
                </a:cubicBezTo>
                <a:cubicBezTo>
                  <a:pt x="4887155" y="46927"/>
                  <a:pt x="4897182" y="51745"/>
                  <a:pt x="4905647" y="61382"/>
                </a:cubicBezTo>
                <a:close/>
                <a:moveTo>
                  <a:pt x="4599837" y="9813"/>
                </a:moveTo>
                <a:lnTo>
                  <a:pt x="4627282" y="9813"/>
                </a:lnTo>
                <a:lnTo>
                  <a:pt x="4627282" y="35207"/>
                </a:lnTo>
                <a:lnTo>
                  <a:pt x="4599837" y="35207"/>
                </a:lnTo>
                <a:close/>
                <a:moveTo>
                  <a:pt x="4552213" y="9813"/>
                </a:moveTo>
                <a:lnTo>
                  <a:pt x="4579657" y="9813"/>
                </a:lnTo>
                <a:lnTo>
                  <a:pt x="4579657" y="152995"/>
                </a:lnTo>
                <a:lnTo>
                  <a:pt x="4552213" y="152995"/>
                </a:lnTo>
                <a:close/>
                <a:moveTo>
                  <a:pt x="4427215" y="9813"/>
                </a:moveTo>
                <a:lnTo>
                  <a:pt x="4454660" y="9813"/>
                </a:lnTo>
                <a:lnTo>
                  <a:pt x="4454660" y="61382"/>
                </a:lnTo>
                <a:cubicBezTo>
                  <a:pt x="4463125" y="51745"/>
                  <a:pt x="4473152" y="46927"/>
                  <a:pt x="4484742" y="46927"/>
                </a:cubicBezTo>
                <a:cubicBezTo>
                  <a:pt x="4497374" y="46927"/>
                  <a:pt x="4507825" y="51501"/>
                  <a:pt x="4516094" y="60650"/>
                </a:cubicBezTo>
                <a:cubicBezTo>
                  <a:pt x="4524363" y="69798"/>
                  <a:pt x="4528498" y="82934"/>
                  <a:pt x="4528498" y="100059"/>
                </a:cubicBezTo>
                <a:cubicBezTo>
                  <a:pt x="4528498" y="117769"/>
                  <a:pt x="4524282" y="131410"/>
                  <a:pt x="4515850" y="140982"/>
                </a:cubicBezTo>
                <a:cubicBezTo>
                  <a:pt x="4507418" y="150553"/>
                  <a:pt x="4497179" y="155339"/>
                  <a:pt x="4485133" y="155339"/>
                </a:cubicBezTo>
                <a:cubicBezTo>
                  <a:pt x="4479208" y="155339"/>
                  <a:pt x="4473364" y="153858"/>
                  <a:pt x="4467601" y="150895"/>
                </a:cubicBezTo>
                <a:cubicBezTo>
                  <a:pt x="4461839" y="147933"/>
                  <a:pt x="4456874" y="143554"/>
                  <a:pt x="4452707" y="137759"/>
                </a:cubicBezTo>
                <a:lnTo>
                  <a:pt x="4452707" y="152995"/>
                </a:lnTo>
                <a:lnTo>
                  <a:pt x="4427215" y="152995"/>
                </a:lnTo>
                <a:close/>
                <a:moveTo>
                  <a:pt x="4066437" y="9813"/>
                </a:moveTo>
                <a:lnTo>
                  <a:pt x="4093882" y="9813"/>
                </a:lnTo>
                <a:lnTo>
                  <a:pt x="4093882" y="35207"/>
                </a:lnTo>
                <a:lnTo>
                  <a:pt x="4066437" y="35207"/>
                </a:lnTo>
                <a:close/>
                <a:moveTo>
                  <a:pt x="1028504" y="9813"/>
                </a:moveTo>
                <a:lnTo>
                  <a:pt x="1055949" y="9813"/>
                </a:lnTo>
                <a:lnTo>
                  <a:pt x="1055949" y="152995"/>
                </a:lnTo>
                <a:lnTo>
                  <a:pt x="1028504" y="152995"/>
                </a:lnTo>
                <a:close/>
                <a:moveTo>
                  <a:pt x="734239" y="9813"/>
                </a:moveTo>
                <a:lnTo>
                  <a:pt x="761684" y="9813"/>
                </a:lnTo>
                <a:lnTo>
                  <a:pt x="761684" y="152995"/>
                </a:lnTo>
                <a:lnTo>
                  <a:pt x="736192" y="152995"/>
                </a:lnTo>
                <a:lnTo>
                  <a:pt x="736192" y="137759"/>
                </a:lnTo>
                <a:cubicBezTo>
                  <a:pt x="731960" y="143684"/>
                  <a:pt x="726963" y="148095"/>
                  <a:pt x="721200" y="150993"/>
                </a:cubicBezTo>
                <a:cubicBezTo>
                  <a:pt x="715438" y="153890"/>
                  <a:pt x="709626" y="155339"/>
                  <a:pt x="703766" y="155339"/>
                </a:cubicBezTo>
                <a:cubicBezTo>
                  <a:pt x="691851" y="155339"/>
                  <a:pt x="681645" y="150537"/>
                  <a:pt x="673147" y="140933"/>
                </a:cubicBezTo>
                <a:cubicBezTo>
                  <a:pt x="664650" y="131329"/>
                  <a:pt x="660401" y="117932"/>
                  <a:pt x="660401" y="100742"/>
                </a:cubicBezTo>
                <a:cubicBezTo>
                  <a:pt x="660401" y="83162"/>
                  <a:pt x="664536" y="69798"/>
                  <a:pt x="672805" y="60650"/>
                </a:cubicBezTo>
                <a:cubicBezTo>
                  <a:pt x="681075" y="51501"/>
                  <a:pt x="691525" y="46927"/>
                  <a:pt x="704157" y="46927"/>
                </a:cubicBezTo>
                <a:cubicBezTo>
                  <a:pt x="715747" y="46927"/>
                  <a:pt x="725774" y="51745"/>
                  <a:pt x="734239" y="61382"/>
                </a:cubicBezTo>
                <a:close/>
                <a:moveTo>
                  <a:pt x="428430" y="9813"/>
                </a:moveTo>
                <a:lnTo>
                  <a:pt x="455874" y="9813"/>
                </a:lnTo>
                <a:lnTo>
                  <a:pt x="455874" y="35207"/>
                </a:lnTo>
                <a:lnTo>
                  <a:pt x="428430" y="35207"/>
                </a:lnTo>
                <a:close/>
                <a:moveTo>
                  <a:pt x="380805" y="9813"/>
                </a:moveTo>
                <a:lnTo>
                  <a:pt x="408249" y="9813"/>
                </a:lnTo>
                <a:lnTo>
                  <a:pt x="408249" y="152995"/>
                </a:lnTo>
                <a:lnTo>
                  <a:pt x="380805" y="152995"/>
                </a:lnTo>
                <a:close/>
                <a:moveTo>
                  <a:pt x="255808" y="9813"/>
                </a:moveTo>
                <a:lnTo>
                  <a:pt x="283252" y="9813"/>
                </a:lnTo>
                <a:lnTo>
                  <a:pt x="283252" y="61382"/>
                </a:lnTo>
                <a:cubicBezTo>
                  <a:pt x="291717" y="51745"/>
                  <a:pt x="301744" y="46927"/>
                  <a:pt x="313334" y="46927"/>
                </a:cubicBezTo>
                <a:cubicBezTo>
                  <a:pt x="325966" y="46927"/>
                  <a:pt x="336417" y="51501"/>
                  <a:pt x="344686" y="60650"/>
                </a:cubicBezTo>
                <a:cubicBezTo>
                  <a:pt x="352955" y="69798"/>
                  <a:pt x="357090" y="82934"/>
                  <a:pt x="357090" y="100059"/>
                </a:cubicBezTo>
                <a:cubicBezTo>
                  <a:pt x="357090" y="117769"/>
                  <a:pt x="352874" y="131410"/>
                  <a:pt x="344442" y="140982"/>
                </a:cubicBezTo>
                <a:cubicBezTo>
                  <a:pt x="336010" y="150553"/>
                  <a:pt x="325771" y="155339"/>
                  <a:pt x="313725" y="155339"/>
                </a:cubicBezTo>
                <a:cubicBezTo>
                  <a:pt x="307800" y="155339"/>
                  <a:pt x="301956" y="153858"/>
                  <a:pt x="296193" y="150895"/>
                </a:cubicBezTo>
                <a:cubicBezTo>
                  <a:pt x="290431" y="147933"/>
                  <a:pt x="285466" y="143554"/>
                  <a:pt x="281299" y="137759"/>
                </a:cubicBezTo>
                <a:lnTo>
                  <a:pt x="281299" y="152995"/>
                </a:lnTo>
                <a:lnTo>
                  <a:pt x="255808" y="152995"/>
                </a:lnTo>
                <a:close/>
                <a:moveTo>
                  <a:pt x="0" y="9813"/>
                </a:moveTo>
                <a:lnTo>
                  <a:pt x="46392" y="9813"/>
                </a:lnTo>
                <a:cubicBezTo>
                  <a:pt x="63973" y="9813"/>
                  <a:pt x="75433" y="10529"/>
                  <a:pt x="80772" y="11962"/>
                </a:cubicBezTo>
                <a:cubicBezTo>
                  <a:pt x="88976" y="14111"/>
                  <a:pt x="95845" y="18782"/>
                  <a:pt x="101380" y="25977"/>
                </a:cubicBezTo>
                <a:cubicBezTo>
                  <a:pt x="106914" y="33172"/>
                  <a:pt x="109682" y="42467"/>
                  <a:pt x="109682" y="53862"/>
                </a:cubicBezTo>
                <a:cubicBezTo>
                  <a:pt x="109682" y="62652"/>
                  <a:pt x="108086" y="70042"/>
                  <a:pt x="104896" y="76032"/>
                </a:cubicBezTo>
                <a:cubicBezTo>
                  <a:pt x="101705" y="82023"/>
                  <a:pt x="97652" y="86727"/>
                  <a:pt x="92736" y="90145"/>
                </a:cubicBezTo>
                <a:cubicBezTo>
                  <a:pt x="87820" y="93564"/>
                  <a:pt x="82823" y="95826"/>
                  <a:pt x="77744" y="96933"/>
                </a:cubicBezTo>
                <a:cubicBezTo>
                  <a:pt x="70842" y="98301"/>
                  <a:pt x="60847" y="98984"/>
                  <a:pt x="47760" y="98984"/>
                </a:cubicBezTo>
                <a:lnTo>
                  <a:pt x="28910" y="98984"/>
                </a:lnTo>
                <a:lnTo>
                  <a:pt x="28910" y="152995"/>
                </a:lnTo>
                <a:lnTo>
                  <a:pt x="0" y="152995"/>
                </a:lnTo>
                <a:close/>
                <a:moveTo>
                  <a:pt x="3688112" y="7371"/>
                </a:moveTo>
                <a:cubicBezTo>
                  <a:pt x="3706083" y="7371"/>
                  <a:pt x="3719610" y="11311"/>
                  <a:pt x="3728693" y="19189"/>
                </a:cubicBezTo>
                <a:cubicBezTo>
                  <a:pt x="3737776" y="27068"/>
                  <a:pt x="3742546" y="37584"/>
                  <a:pt x="3743001" y="50736"/>
                </a:cubicBezTo>
                <a:lnTo>
                  <a:pt x="3714092" y="52006"/>
                </a:lnTo>
                <a:cubicBezTo>
                  <a:pt x="3712854" y="44648"/>
                  <a:pt x="3710201" y="39358"/>
                  <a:pt x="3706132" y="36135"/>
                </a:cubicBezTo>
                <a:cubicBezTo>
                  <a:pt x="3702062" y="32912"/>
                  <a:pt x="3695958" y="31300"/>
                  <a:pt x="3687819" y="31300"/>
                </a:cubicBezTo>
                <a:cubicBezTo>
                  <a:pt x="3679419" y="31300"/>
                  <a:pt x="3672843" y="33026"/>
                  <a:pt x="3668090" y="36477"/>
                </a:cubicBezTo>
                <a:cubicBezTo>
                  <a:pt x="3665029" y="38690"/>
                  <a:pt x="3663499" y="41653"/>
                  <a:pt x="3663499" y="45364"/>
                </a:cubicBezTo>
                <a:cubicBezTo>
                  <a:pt x="3663499" y="48750"/>
                  <a:pt x="3664932" y="51648"/>
                  <a:pt x="3667797" y="54057"/>
                </a:cubicBezTo>
                <a:cubicBezTo>
                  <a:pt x="3671443" y="57117"/>
                  <a:pt x="3680298" y="60308"/>
                  <a:pt x="3694363" y="63628"/>
                </a:cubicBezTo>
                <a:cubicBezTo>
                  <a:pt x="3708427" y="66949"/>
                  <a:pt x="3718828" y="70384"/>
                  <a:pt x="3725568" y="73932"/>
                </a:cubicBezTo>
                <a:cubicBezTo>
                  <a:pt x="3732307" y="77481"/>
                  <a:pt x="3737581" y="82332"/>
                  <a:pt x="3741390" y="88485"/>
                </a:cubicBezTo>
                <a:cubicBezTo>
                  <a:pt x="3745199" y="94638"/>
                  <a:pt x="3747104" y="102240"/>
                  <a:pt x="3747104" y="111291"/>
                </a:cubicBezTo>
                <a:cubicBezTo>
                  <a:pt x="3747104" y="119495"/>
                  <a:pt x="3744825" y="127178"/>
                  <a:pt x="3740267" y="134340"/>
                </a:cubicBezTo>
                <a:cubicBezTo>
                  <a:pt x="3735709" y="141503"/>
                  <a:pt x="3729263" y="146826"/>
                  <a:pt x="3720928" y="150309"/>
                </a:cubicBezTo>
                <a:cubicBezTo>
                  <a:pt x="3712594" y="153793"/>
                  <a:pt x="3702209" y="155534"/>
                  <a:pt x="3689772" y="155534"/>
                </a:cubicBezTo>
                <a:cubicBezTo>
                  <a:pt x="3671671" y="155534"/>
                  <a:pt x="3657769" y="151351"/>
                  <a:pt x="3648068" y="142984"/>
                </a:cubicBezTo>
                <a:cubicBezTo>
                  <a:pt x="3638366" y="134617"/>
                  <a:pt x="3632571" y="122425"/>
                  <a:pt x="3630683" y="106407"/>
                </a:cubicBezTo>
                <a:lnTo>
                  <a:pt x="3658811" y="103672"/>
                </a:lnTo>
                <a:cubicBezTo>
                  <a:pt x="3660504" y="113114"/>
                  <a:pt x="3663939" y="120048"/>
                  <a:pt x="3669115" y="124476"/>
                </a:cubicBezTo>
                <a:cubicBezTo>
                  <a:pt x="3674292" y="128904"/>
                  <a:pt x="3681275" y="131117"/>
                  <a:pt x="3690065" y="131117"/>
                </a:cubicBezTo>
                <a:cubicBezTo>
                  <a:pt x="3699376" y="131117"/>
                  <a:pt x="3706392" y="129148"/>
                  <a:pt x="3711113" y="125208"/>
                </a:cubicBezTo>
                <a:cubicBezTo>
                  <a:pt x="3715833" y="121269"/>
                  <a:pt x="3718194" y="116662"/>
                  <a:pt x="3718194" y="111388"/>
                </a:cubicBezTo>
                <a:cubicBezTo>
                  <a:pt x="3718194" y="108002"/>
                  <a:pt x="3717201" y="105121"/>
                  <a:pt x="3715215" y="102745"/>
                </a:cubicBezTo>
                <a:cubicBezTo>
                  <a:pt x="3713229" y="100368"/>
                  <a:pt x="3709762" y="98301"/>
                  <a:pt x="3704813" y="96543"/>
                </a:cubicBezTo>
                <a:cubicBezTo>
                  <a:pt x="3701427" y="95371"/>
                  <a:pt x="3693711" y="93287"/>
                  <a:pt x="3681666" y="90292"/>
                </a:cubicBezTo>
                <a:cubicBezTo>
                  <a:pt x="3666169" y="86450"/>
                  <a:pt x="3655295" y="81730"/>
                  <a:pt x="3649044" y="76130"/>
                </a:cubicBezTo>
                <a:cubicBezTo>
                  <a:pt x="3640254" y="68251"/>
                  <a:pt x="3635859" y="58647"/>
                  <a:pt x="3635859" y="47318"/>
                </a:cubicBezTo>
                <a:cubicBezTo>
                  <a:pt x="3635859" y="40025"/>
                  <a:pt x="3637926" y="33205"/>
                  <a:pt x="3642061" y="26856"/>
                </a:cubicBezTo>
                <a:cubicBezTo>
                  <a:pt x="3646196" y="20508"/>
                  <a:pt x="3652153" y="15673"/>
                  <a:pt x="3659934" y="12352"/>
                </a:cubicBezTo>
                <a:cubicBezTo>
                  <a:pt x="3667715" y="9032"/>
                  <a:pt x="3677108" y="7371"/>
                  <a:pt x="3688112" y="7371"/>
                </a:cubicBezTo>
                <a:close/>
                <a:moveTo>
                  <a:pt x="5985190" y="0"/>
                </a:moveTo>
                <a:lnTo>
                  <a:pt x="6000036" y="0"/>
                </a:lnTo>
                <a:lnTo>
                  <a:pt x="6000036" y="95845"/>
                </a:lnTo>
                <a:lnTo>
                  <a:pt x="5981739" y="95845"/>
                </a:lnTo>
                <a:lnTo>
                  <a:pt x="5981739" y="26891"/>
                </a:lnTo>
                <a:cubicBezTo>
                  <a:pt x="5975054" y="33142"/>
                  <a:pt x="5967176" y="37765"/>
                  <a:pt x="5958103" y="40760"/>
                </a:cubicBezTo>
                <a:lnTo>
                  <a:pt x="5958103" y="24156"/>
                </a:lnTo>
                <a:cubicBezTo>
                  <a:pt x="5962878" y="22594"/>
                  <a:pt x="5968066" y="19631"/>
                  <a:pt x="5973665" y="15269"/>
                </a:cubicBezTo>
                <a:cubicBezTo>
                  <a:pt x="5979265" y="10906"/>
                  <a:pt x="5983107" y="5816"/>
                  <a:pt x="5985190" y="0"/>
                </a:cubicBezTo>
                <a:close/>
                <a:moveTo>
                  <a:pt x="1813782" y="0"/>
                </a:moveTo>
                <a:lnTo>
                  <a:pt x="1828628" y="0"/>
                </a:lnTo>
                <a:lnTo>
                  <a:pt x="1828628" y="95845"/>
                </a:lnTo>
                <a:lnTo>
                  <a:pt x="1810331" y="95845"/>
                </a:lnTo>
                <a:lnTo>
                  <a:pt x="1810331" y="26891"/>
                </a:lnTo>
                <a:cubicBezTo>
                  <a:pt x="1803646" y="33142"/>
                  <a:pt x="1795768" y="37765"/>
                  <a:pt x="1786696" y="40760"/>
                </a:cubicBezTo>
                <a:lnTo>
                  <a:pt x="1786696" y="24156"/>
                </a:lnTo>
                <a:cubicBezTo>
                  <a:pt x="1791470" y="22594"/>
                  <a:pt x="1796658" y="19631"/>
                  <a:pt x="1802257" y="15269"/>
                </a:cubicBezTo>
                <a:cubicBezTo>
                  <a:pt x="1807857" y="10906"/>
                  <a:pt x="1811699" y="5816"/>
                  <a:pt x="1813782" y="0"/>
                </a:cubicBezTo>
                <a:close/>
              </a:path>
            </a:pathLst>
          </a:custGeom>
          <a:gradFill>
            <a:gsLst>
              <a:gs pos="0">
                <a:srgbClr val="4BB9B9"/>
              </a:gs>
              <a:gs pos="100000">
                <a:srgbClr val="00646E"/>
              </a:gs>
            </a:gsLst>
            <a:lin ang="0" scaled="0"/>
          </a:gradFill>
          <a:ln>
            <a:noFill/>
          </a:ln>
          <a:effectLst/>
        </p:spPr>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buClr>
                <a:srgbClr val="009999"/>
              </a:buClr>
            </a:pPr>
            <a:endParaRPr lang="en-US" sz="1598" b="1" kern="0" baseline="30000" dirty="0">
              <a:solidFill>
                <a:srgbClr val="32A0A0"/>
              </a:solidFill>
            </a:endParaRPr>
          </a:p>
        </p:txBody>
      </p:sp>
      <p:sp>
        <p:nvSpPr>
          <p:cNvPr id="27" name="TextBox 11">
            <a:extLst>
              <a:ext uri="{FF2B5EF4-FFF2-40B4-BE49-F238E27FC236}">
                <a16:creationId xmlns:a16="http://schemas.microsoft.com/office/drawing/2014/main" id="{AFA43119-B3AF-4B01-8382-3DE9AE65DE44}"/>
              </a:ext>
            </a:extLst>
          </p:cNvPr>
          <p:cNvSpPr txBox="1">
            <a:spLocks noChangeArrowheads="1"/>
          </p:cNvSpPr>
          <p:nvPr>
            <p:custDataLst>
              <p:tags r:id="rId4"/>
            </p:custDataLst>
          </p:nvPr>
        </p:nvSpPr>
        <p:spPr bwMode="auto">
          <a:xfrm rot="16200000">
            <a:off x="-448571" y="4932498"/>
            <a:ext cx="1972590" cy="248726"/>
          </a:xfrm>
          <a:prstGeom prst="rect">
            <a:avLst/>
          </a:prstGeom>
          <a:noFill/>
          <a:ln w="9525">
            <a:noFill/>
            <a:miter lim="800000"/>
            <a:headEnd/>
            <a:tailEnd/>
          </a:ln>
        </p:spPr>
        <p:txBody>
          <a:bodyPr vert="horz" wrap="square" lIns="107888"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gn="ctr">
              <a:lnSpc>
                <a:spcPct val="100000"/>
              </a:lnSpc>
              <a:buClr>
                <a:srgbClr val="009999"/>
              </a:buClr>
            </a:pPr>
            <a:r>
              <a:rPr lang="en-US" sz="1598" b="1" kern="0" dirty="0">
                <a:solidFill>
                  <a:srgbClr val="00646E"/>
                </a:solidFill>
              </a:rPr>
              <a:t>Private</a:t>
            </a:r>
            <a:endParaRPr lang="en-US" sz="1598" b="1" kern="0" baseline="30000" dirty="0">
              <a:solidFill>
                <a:srgbClr val="00646E"/>
              </a:solidFill>
            </a:endParaRPr>
          </a:p>
        </p:txBody>
      </p:sp>
      <p:sp>
        <p:nvSpPr>
          <p:cNvPr id="28" name="TextBox 11">
            <a:extLst>
              <a:ext uri="{FF2B5EF4-FFF2-40B4-BE49-F238E27FC236}">
                <a16:creationId xmlns:a16="http://schemas.microsoft.com/office/drawing/2014/main" id="{C3BE747F-85A5-46B5-9017-D57F1DBEC31F}"/>
              </a:ext>
            </a:extLst>
          </p:cNvPr>
          <p:cNvSpPr txBox="1">
            <a:spLocks noChangeArrowheads="1"/>
          </p:cNvSpPr>
          <p:nvPr>
            <p:custDataLst>
              <p:tags r:id="rId5"/>
            </p:custDataLst>
          </p:nvPr>
        </p:nvSpPr>
        <p:spPr bwMode="auto">
          <a:xfrm rot="16200000">
            <a:off x="-620846" y="3323202"/>
            <a:ext cx="2317137" cy="248726"/>
          </a:xfrm>
          <a:prstGeom prst="rect">
            <a:avLst/>
          </a:prstGeom>
          <a:noFill/>
          <a:ln w="9525">
            <a:noFill/>
            <a:miter lim="800000"/>
            <a:headEnd/>
            <a:tailEnd/>
          </a:ln>
        </p:spPr>
        <p:txBody>
          <a:bodyPr vert="horz" wrap="square" lIns="107888"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gn="ctr">
              <a:lnSpc>
                <a:spcPct val="100000"/>
              </a:lnSpc>
              <a:buClr>
                <a:srgbClr val="009999"/>
              </a:buClr>
            </a:pPr>
            <a:r>
              <a:rPr lang="en-US" sz="1598" b="1" kern="0" dirty="0">
                <a:solidFill>
                  <a:srgbClr val="32A0A0"/>
                </a:solidFill>
              </a:rPr>
              <a:t>Public </a:t>
            </a:r>
            <a:endParaRPr lang="en-US" sz="1598" b="1" kern="0" baseline="30000" dirty="0">
              <a:solidFill>
                <a:srgbClr val="32A0A0"/>
              </a:solidFill>
            </a:endParaRPr>
          </a:p>
        </p:txBody>
      </p:sp>
      <p:sp>
        <p:nvSpPr>
          <p:cNvPr id="29" name="TextBox 11">
            <a:extLst>
              <a:ext uri="{FF2B5EF4-FFF2-40B4-BE49-F238E27FC236}">
                <a16:creationId xmlns:a16="http://schemas.microsoft.com/office/drawing/2014/main" id="{3D0A3DA6-306E-4931-A63D-D88B75B24C11}"/>
              </a:ext>
            </a:extLst>
          </p:cNvPr>
          <p:cNvSpPr txBox="1">
            <a:spLocks noChangeArrowheads="1"/>
          </p:cNvSpPr>
          <p:nvPr>
            <p:custDataLst>
              <p:tags r:id="rId6"/>
            </p:custDataLst>
          </p:nvPr>
        </p:nvSpPr>
        <p:spPr bwMode="auto">
          <a:xfrm>
            <a:off x="1080697" y="1803845"/>
            <a:ext cx="3420454" cy="135244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spcBef>
                <a:spcPts val="300"/>
              </a:spcBef>
              <a:buClr>
                <a:srgbClr val="009999"/>
              </a:buClr>
              <a:tabLst>
                <a:tab pos="532866" algn="l"/>
              </a:tabLst>
            </a:pPr>
            <a:r>
              <a:rPr lang="en-US" sz="1198" b="1" kern="0" dirty="0">
                <a:solidFill>
                  <a:srgbClr val="000000"/>
                </a:solidFill>
              </a:rPr>
              <a:t>Flexibility: 	</a:t>
            </a:r>
            <a:r>
              <a:rPr lang="en-US" sz="1198" kern="0" dirty="0">
                <a:solidFill>
                  <a:srgbClr val="000000"/>
                </a:solidFill>
              </a:rPr>
              <a:t>Very limited, depends on provider</a:t>
            </a:r>
          </a:p>
          <a:p>
            <a:pPr>
              <a:lnSpc>
                <a:spcPct val="100000"/>
              </a:lnSpc>
              <a:spcBef>
                <a:spcPts val="300"/>
              </a:spcBef>
              <a:buClr>
                <a:srgbClr val="009999"/>
              </a:buClr>
            </a:pPr>
            <a:r>
              <a:rPr lang="en-US" sz="1198" b="1" kern="0" dirty="0">
                <a:solidFill>
                  <a:srgbClr val="000000"/>
                </a:solidFill>
              </a:rPr>
              <a:t>Privacy:</a:t>
            </a:r>
            <a:r>
              <a:rPr lang="en-US" sz="1198" kern="0" dirty="0">
                <a:solidFill>
                  <a:srgbClr val="000000"/>
                </a:solidFill>
              </a:rPr>
              <a:t> 	Insufficient w/o additional 	precaution</a:t>
            </a:r>
          </a:p>
          <a:p>
            <a:pPr>
              <a:lnSpc>
                <a:spcPct val="100000"/>
              </a:lnSpc>
              <a:spcBef>
                <a:spcPts val="300"/>
              </a:spcBef>
              <a:buClr>
                <a:srgbClr val="009999"/>
              </a:buClr>
            </a:pPr>
            <a:r>
              <a:rPr lang="en-US" sz="1198" b="1" kern="0" dirty="0">
                <a:solidFill>
                  <a:srgbClr val="000000"/>
                </a:solidFill>
              </a:rPr>
              <a:t>QoS: 	</a:t>
            </a:r>
            <a:r>
              <a:rPr lang="en-US" sz="1198" kern="0" dirty="0">
                <a:solidFill>
                  <a:srgbClr val="000000"/>
                </a:solidFill>
              </a:rPr>
              <a:t>Not guaranteed</a:t>
            </a:r>
          </a:p>
          <a:p>
            <a:pPr>
              <a:lnSpc>
                <a:spcPct val="100000"/>
              </a:lnSpc>
              <a:spcBef>
                <a:spcPts val="300"/>
              </a:spcBef>
              <a:buClr>
                <a:srgbClr val="009999"/>
              </a:buClr>
            </a:pPr>
            <a:r>
              <a:rPr lang="en-US" sz="1198" b="1" kern="0" dirty="0">
                <a:solidFill>
                  <a:srgbClr val="000000"/>
                </a:solidFill>
              </a:rPr>
              <a:t>Network: 	</a:t>
            </a:r>
            <a:r>
              <a:rPr lang="en-US" sz="1198" kern="0" dirty="0">
                <a:solidFill>
                  <a:srgbClr val="000000"/>
                </a:solidFill>
              </a:rPr>
              <a:t>Depends on implementation of 	provider</a:t>
            </a:r>
          </a:p>
        </p:txBody>
      </p:sp>
      <p:sp>
        <p:nvSpPr>
          <p:cNvPr id="30" name="TextBox 11">
            <a:extLst>
              <a:ext uri="{FF2B5EF4-FFF2-40B4-BE49-F238E27FC236}">
                <a16:creationId xmlns:a16="http://schemas.microsoft.com/office/drawing/2014/main" id="{E823C1E3-1456-4E5F-B61F-0FFA54745DAA}"/>
              </a:ext>
            </a:extLst>
          </p:cNvPr>
          <p:cNvSpPr txBox="1">
            <a:spLocks noChangeArrowheads="1"/>
          </p:cNvSpPr>
          <p:nvPr>
            <p:custDataLst>
              <p:tags r:id="rId7"/>
            </p:custDataLst>
          </p:nvPr>
        </p:nvSpPr>
        <p:spPr bwMode="auto">
          <a:xfrm>
            <a:off x="4646616" y="1803845"/>
            <a:ext cx="3420454" cy="1352448"/>
          </a:xfrm>
          <a:prstGeom prst="rect">
            <a:avLst/>
          </a:prstGeom>
          <a:noFill/>
          <a:ln w="9525">
            <a:noFill/>
            <a:miter lim="800000"/>
            <a:headEnd/>
            <a:tailEnd/>
          </a:ln>
        </p:spPr>
        <p:txBody>
          <a:bodyPr vert="horz" wrap="square" lIns="107888" tIns="0" rIns="0" bIns="0" numCol="1" anchor="t" anchorCtr="0" compatLnSpc="1">
            <a:prstTxWarp prst="textNoShape">
              <a:avLst/>
            </a:prstTxWarp>
            <a:noAutofit/>
          </a:bodyPr>
          <a:lstStyle>
            <a:defPPr>
              <a:defRPr lang="de-DE"/>
            </a:defPPr>
            <a:lvl1pPr marL="0" indent="0" eaLnBrk="1" hangingPunct="1">
              <a:lnSpc>
                <a:spcPct val="100000"/>
              </a:lnSpc>
              <a:spcBef>
                <a:spcPct val="0"/>
              </a:spcBef>
              <a:buClr>
                <a:schemeClr val="accent1"/>
              </a:buClr>
              <a:buFont typeface="Arial" pitchFamily="34" charset="0"/>
              <a:buNone/>
              <a:tabLst>
                <a:tab pos="533400" algn="l"/>
              </a:tabLst>
              <a:defRPr sz="1200" b="1" kern="0">
                <a:solidFill>
                  <a:schemeClr val="tx1"/>
                </a:solidFill>
                <a:ea typeface="+mn-ea"/>
                <a:cs typeface="Arial" pitchFamily="34" charset="0"/>
              </a:defRPr>
            </a:lvl1pPr>
            <a:lvl2pPr marL="179388" indent="-180000" eaLnBrk="1" hangingPunct="1">
              <a:lnSpc>
                <a:spcPct val="110000"/>
              </a:lnSpc>
              <a:spcBef>
                <a:spcPct val="0"/>
              </a:spcBef>
              <a:buClr>
                <a:srgbClr val="879BAA"/>
              </a:buClr>
              <a:buChar char="•"/>
              <a:tabLst/>
              <a:defRPr>
                <a:solidFill>
                  <a:schemeClr val="tx1"/>
                </a:solidFill>
                <a:ea typeface="+mn-ea"/>
                <a:cs typeface="Arial" pitchFamily="34" charset="0"/>
              </a:defRPr>
            </a:lvl2pPr>
            <a:lvl3pPr marL="358775" indent="-180000" eaLnBrk="1" hangingPunct="1">
              <a:lnSpc>
                <a:spcPct val="110000"/>
              </a:lnSpc>
              <a:spcBef>
                <a:spcPct val="0"/>
              </a:spcBef>
              <a:buClr>
                <a:srgbClr val="879BAA"/>
              </a:buClr>
              <a:buChar char="•"/>
              <a:tabLst/>
              <a:defRPr>
                <a:solidFill>
                  <a:schemeClr val="tx1"/>
                </a:solidFill>
                <a:ea typeface="+mn-ea"/>
                <a:cs typeface="Arial" pitchFamily="34" charset="0"/>
              </a:defRPr>
            </a:lvl3pPr>
            <a:lvl4pPr marL="538163" indent="-180000" eaLnBrk="1" hangingPunct="1">
              <a:lnSpc>
                <a:spcPct val="110000"/>
              </a:lnSpc>
              <a:spcBef>
                <a:spcPct val="0"/>
              </a:spcBef>
              <a:buClr>
                <a:srgbClr val="879BAA"/>
              </a:buClr>
              <a:buChar char="•"/>
              <a:tabLst/>
              <a:defRPr>
                <a:solidFill>
                  <a:schemeClr val="tx1"/>
                </a:solidFill>
                <a:ea typeface="+mn-ea"/>
                <a:cs typeface="Arial" pitchFamily="34" charset="0"/>
              </a:defRPr>
            </a:lvl4pPr>
            <a:lvl5pPr marL="720000" indent="-180000" eaLnBrk="1" hangingPunct="1">
              <a:lnSpc>
                <a:spcPct val="110000"/>
              </a:lnSpc>
              <a:spcBef>
                <a:spcPct val="0"/>
              </a:spcBef>
              <a:buClr>
                <a:srgbClr val="879BAA"/>
              </a:buClr>
              <a:buChar char="•"/>
              <a:tabLst/>
              <a:defRPr baseline="0">
                <a:solidFill>
                  <a:schemeClr val="tx1"/>
                </a:solidFill>
                <a:ea typeface="+mn-ea"/>
                <a:cs typeface="Arial" pitchFamily="34" charset="0"/>
              </a:defRPr>
            </a:lvl5pPr>
            <a:lvl6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Bef>
                <a:spcPts val="300"/>
              </a:spcBef>
              <a:buClr>
                <a:srgbClr val="009999"/>
              </a:buClr>
            </a:pPr>
            <a:r>
              <a:rPr lang="en-US" sz="1198" dirty="0">
                <a:solidFill>
                  <a:srgbClr val="000000"/>
                </a:solidFill>
                <a:latin typeface="Arial"/>
              </a:rPr>
              <a:t>Flexibility: 	</a:t>
            </a:r>
            <a:r>
              <a:rPr lang="en-US" sz="1198" b="0" dirty="0">
                <a:solidFill>
                  <a:srgbClr val="000000"/>
                </a:solidFill>
                <a:latin typeface="Arial"/>
              </a:rPr>
              <a:t>Limited, depends on provider</a:t>
            </a:r>
          </a:p>
          <a:p>
            <a:pPr>
              <a:spcBef>
                <a:spcPts val="300"/>
              </a:spcBef>
              <a:buClr>
                <a:srgbClr val="009999"/>
              </a:buClr>
            </a:pPr>
            <a:r>
              <a:rPr lang="en-US" sz="1198" dirty="0">
                <a:solidFill>
                  <a:srgbClr val="000000"/>
                </a:solidFill>
                <a:latin typeface="Arial"/>
              </a:rPr>
              <a:t>Privacy: 	</a:t>
            </a:r>
            <a:r>
              <a:rPr lang="en-US" sz="1198" b="0" dirty="0">
                <a:solidFill>
                  <a:srgbClr val="000000"/>
                </a:solidFill>
                <a:latin typeface="Arial"/>
              </a:rPr>
              <a:t>UEs are visible outside</a:t>
            </a:r>
          </a:p>
          <a:p>
            <a:pPr>
              <a:spcBef>
                <a:spcPts val="300"/>
              </a:spcBef>
              <a:buClr>
                <a:srgbClr val="009999"/>
              </a:buClr>
            </a:pPr>
            <a:r>
              <a:rPr lang="en-US" sz="1198" dirty="0">
                <a:solidFill>
                  <a:srgbClr val="000000"/>
                </a:solidFill>
                <a:latin typeface="Arial"/>
              </a:rPr>
              <a:t>QoS: 		</a:t>
            </a:r>
            <a:r>
              <a:rPr lang="en-US" sz="1198" b="0" dirty="0">
                <a:solidFill>
                  <a:srgbClr val="000000"/>
                </a:solidFill>
                <a:latin typeface="Arial"/>
              </a:rPr>
              <a:t>Best effort</a:t>
            </a:r>
          </a:p>
          <a:p>
            <a:pPr>
              <a:spcBef>
                <a:spcPts val="300"/>
              </a:spcBef>
              <a:buClr>
                <a:srgbClr val="009999"/>
              </a:buClr>
            </a:pPr>
            <a:r>
              <a:rPr lang="en-US" sz="1198" dirty="0">
                <a:solidFill>
                  <a:srgbClr val="000000"/>
                </a:solidFill>
                <a:latin typeface="Arial"/>
              </a:rPr>
              <a:t>Network: 	</a:t>
            </a:r>
            <a:r>
              <a:rPr lang="en-US" sz="1198" b="0" dirty="0">
                <a:solidFill>
                  <a:srgbClr val="000000"/>
                </a:solidFill>
                <a:latin typeface="Arial"/>
              </a:rPr>
              <a:t>This scenario is one possible </a:t>
            </a:r>
            <a:br>
              <a:rPr lang="en-US" sz="1198" b="0" dirty="0">
                <a:solidFill>
                  <a:srgbClr val="000000"/>
                </a:solidFill>
                <a:latin typeface="Arial"/>
              </a:rPr>
            </a:br>
            <a:r>
              <a:rPr lang="en-US" sz="1198" b="0" dirty="0">
                <a:solidFill>
                  <a:srgbClr val="000000"/>
                </a:solidFill>
                <a:latin typeface="Arial"/>
              </a:rPr>
              <a:t>		way of slicing, depends on 			provider</a:t>
            </a:r>
          </a:p>
        </p:txBody>
      </p:sp>
      <p:sp>
        <p:nvSpPr>
          <p:cNvPr id="31" name="TextBox 11">
            <a:extLst>
              <a:ext uri="{FF2B5EF4-FFF2-40B4-BE49-F238E27FC236}">
                <a16:creationId xmlns:a16="http://schemas.microsoft.com/office/drawing/2014/main" id="{343B8C43-E2C1-4462-BBA7-122BF601A672}"/>
              </a:ext>
            </a:extLst>
          </p:cNvPr>
          <p:cNvSpPr txBox="1">
            <a:spLocks noChangeArrowheads="1"/>
          </p:cNvSpPr>
          <p:nvPr>
            <p:custDataLst>
              <p:tags r:id="rId8"/>
            </p:custDataLst>
          </p:nvPr>
        </p:nvSpPr>
        <p:spPr bwMode="auto">
          <a:xfrm>
            <a:off x="8212532" y="1803845"/>
            <a:ext cx="3420454" cy="1165903"/>
          </a:xfrm>
          <a:prstGeom prst="rect">
            <a:avLst/>
          </a:prstGeom>
          <a:noFill/>
          <a:ln w="9525">
            <a:noFill/>
            <a:miter lim="800000"/>
            <a:headEnd/>
            <a:tailEnd/>
          </a:ln>
        </p:spPr>
        <p:txBody>
          <a:bodyPr vert="horz" wrap="square" lIns="107888" tIns="0" rIns="0" bIns="0" numCol="1" anchor="t" anchorCtr="0" compatLnSpc="1">
            <a:prstTxWarp prst="textNoShape">
              <a:avLst/>
            </a:prstTxWarp>
            <a:noAutofit/>
          </a:bodyPr>
          <a:lstStyle>
            <a:defPPr>
              <a:defRPr lang="de-DE"/>
            </a:defPPr>
            <a:lvl1pPr marL="0" indent="0" eaLnBrk="1" hangingPunct="1">
              <a:lnSpc>
                <a:spcPct val="100000"/>
              </a:lnSpc>
              <a:spcBef>
                <a:spcPct val="0"/>
              </a:spcBef>
              <a:buClr>
                <a:schemeClr val="accent1"/>
              </a:buClr>
              <a:buFont typeface="Arial" pitchFamily="34" charset="0"/>
              <a:buNone/>
              <a:tabLst>
                <a:tab pos="533400" algn="l"/>
              </a:tabLst>
              <a:defRPr sz="1200" b="1" kern="0">
                <a:solidFill>
                  <a:schemeClr val="tx1"/>
                </a:solidFill>
                <a:ea typeface="+mn-ea"/>
                <a:cs typeface="Arial" pitchFamily="34" charset="0"/>
              </a:defRPr>
            </a:lvl1pPr>
            <a:lvl2pPr marL="179388" indent="-180000" eaLnBrk="1" hangingPunct="1">
              <a:lnSpc>
                <a:spcPct val="110000"/>
              </a:lnSpc>
              <a:spcBef>
                <a:spcPct val="0"/>
              </a:spcBef>
              <a:buClr>
                <a:srgbClr val="879BAA"/>
              </a:buClr>
              <a:buChar char="•"/>
              <a:tabLst/>
              <a:defRPr>
                <a:solidFill>
                  <a:schemeClr val="tx1"/>
                </a:solidFill>
                <a:ea typeface="+mn-ea"/>
                <a:cs typeface="Arial" pitchFamily="34" charset="0"/>
              </a:defRPr>
            </a:lvl2pPr>
            <a:lvl3pPr marL="358775" indent="-180000" eaLnBrk="1" hangingPunct="1">
              <a:lnSpc>
                <a:spcPct val="110000"/>
              </a:lnSpc>
              <a:spcBef>
                <a:spcPct val="0"/>
              </a:spcBef>
              <a:buClr>
                <a:srgbClr val="879BAA"/>
              </a:buClr>
              <a:buChar char="•"/>
              <a:tabLst/>
              <a:defRPr>
                <a:solidFill>
                  <a:schemeClr val="tx1"/>
                </a:solidFill>
                <a:ea typeface="+mn-ea"/>
                <a:cs typeface="Arial" pitchFamily="34" charset="0"/>
              </a:defRPr>
            </a:lvl3pPr>
            <a:lvl4pPr marL="538163" indent="-180000" eaLnBrk="1" hangingPunct="1">
              <a:lnSpc>
                <a:spcPct val="110000"/>
              </a:lnSpc>
              <a:spcBef>
                <a:spcPct val="0"/>
              </a:spcBef>
              <a:buClr>
                <a:srgbClr val="879BAA"/>
              </a:buClr>
              <a:buChar char="•"/>
              <a:tabLst/>
              <a:defRPr>
                <a:solidFill>
                  <a:schemeClr val="tx1"/>
                </a:solidFill>
                <a:ea typeface="+mn-ea"/>
                <a:cs typeface="Arial" pitchFamily="34" charset="0"/>
              </a:defRPr>
            </a:lvl4pPr>
            <a:lvl5pPr marL="720000" indent="-180000" eaLnBrk="1" hangingPunct="1">
              <a:lnSpc>
                <a:spcPct val="110000"/>
              </a:lnSpc>
              <a:spcBef>
                <a:spcPct val="0"/>
              </a:spcBef>
              <a:buClr>
                <a:srgbClr val="879BAA"/>
              </a:buClr>
              <a:buChar char="•"/>
              <a:tabLst/>
              <a:defRPr baseline="0">
                <a:solidFill>
                  <a:schemeClr val="tx1"/>
                </a:solidFill>
                <a:ea typeface="+mn-ea"/>
                <a:cs typeface="Arial" pitchFamily="34" charset="0"/>
              </a:defRPr>
            </a:lvl5pPr>
            <a:lvl6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fontAlgn="base">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Bef>
                <a:spcPts val="300"/>
              </a:spcBef>
              <a:buClr>
                <a:srgbClr val="009999"/>
              </a:buClr>
            </a:pPr>
            <a:r>
              <a:rPr lang="en-US" sz="1198" dirty="0">
                <a:solidFill>
                  <a:srgbClr val="000000"/>
                </a:solidFill>
                <a:latin typeface="Arial"/>
              </a:rPr>
              <a:t>Flexibility: 	</a:t>
            </a:r>
            <a:r>
              <a:rPr lang="en-US" sz="1198" b="0" dirty="0">
                <a:solidFill>
                  <a:srgbClr val="000000"/>
                </a:solidFill>
                <a:latin typeface="Arial"/>
              </a:rPr>
              <a:t>Unlimited</a:t>
            </a:r>
          </a:p>
          <a:p>
            <a:pPr>
              <a:spcBef>
                <a:spcPts val="300"/>
              </a:spcBef>
              <a:buClr>
                <a:srgbClr val="009999"/>
              </a:buClr>
            </a:pPr>
            <a:r>
              <a:rPr lang="en-US" sz="1198" dirty="0">
                <a:solidFill>
                  <a:srgbClr val="000000"/>
                </a:solidFill>
                <a:latin typeface="Arial"/>
              </a:rPr>
              <a:t>Privacy: 	</a:t>
            </a:r>
            <a:r>
              <a:rPr lang="en-US" sz="1198" b="0" dirty="0">
                <a:solidFill>
                  <a:srgbClr val="000000"/>
                </a:solidFill>
                <a:latin typeface="Arial"/>
              </a:rPr>
              <a:t>Optimal</a:t>
            </a:r>
          </a:p>
          <a:p>
            <a:pPr>
              <a:spcBef>
                <a:spcPts val="300"/>
              </a:spcBef>
              <a:buClr>
                <a:srgbClr val="009999"/>
              </a:buClr>
            </a:pPr>
            <a:r>
              <a:rPr lang="en-US" sz="1198" dirty="0">
                <a:solidFill>
                  <a:srgbClr val="000000"/>
                </a:solidFill>
                <a:latin typeface="Arial"/>
              </a:rPr>
              <a:t>QoS: 		</a:t>
            </a:r>
            <a:r>
              <a:rPr lang="en-US" sz="1198" b="0" dirty="0">
                <a:solidFill>
                  <a:srgbClr val="000000"/>
                </a:solidFill>
                <a:latin typeface="Arial"/>
              </a:rPr>
              <a:t>Optimal</a:t>
            </a:r>
          </a:p>
          <a:p>
            <a:pPr>
              <a:spcBef>
                <a:spcPts val="300"/>
              </a:spcBef>
              <a:buClr>
                <a:srgbClr val="009999"/>
              </a:buClr>
            </a:pPr>
            <a:r>
              <a:rPr lang="en-US" sz="1198" dirty="0">
                <a:solidFill>
                  <a:srgbClr val="000000"/>
                </a:solidFill>
                <a:latin typeface="Arial"/>
              </a:rPr>
              <a:t>Network: 	</a:t>
            </a:r>
            <a:r>
              <a:rPr lang="en-US" sz="1198" b="0" dirty="0">
                <a:solidFill>
                  <a:srgbClr val="000000"/>
                </a:solidFill>
                <a:latin typeface="Arial"/>
              </a:rPr>
              <a:t>This scenario is only possible </a:t>
            </a:r>
            <a:br>
              <a:rPr lang="en-US" sz="1198" b="0" dirty="0">
                <a:solidFill>
                  <a:srgbClr val="000000"/>
                </a:solidFill>
                <a:latin typeface="Arial"/>
              </a:rPr>
            </a:br>
            <a:r>
              <a:rPr lang="en-US" sz="1198" b="0" dirty="0">
                <a:solidFill>
                  <a:srgbClr val="000000"/>
                </a:solidFill>
                <a:latin typeface="Arial"/>
              </a:rPr>
              <a:t>		with access to spectrum </a:t>
            </a:r>
          </a:p>
        </p:txBody>
      </p:sp>
      <p:sp>
        <p:nvSpPr>
          <p:cNvPr id="32" name="Rechteck 31">
            <a:extLst>
              <a:ext uri="{FF2B5EF4-FFF2-40B4-BE49-F238E27FC236}">
                <a16:creationId xmlns:a16="http://schemas.microsoft.com/office/drawing/2014/main" id="{82F5BB41-B707-4C08-8D36-26AD3C3A2385}"/>
              </a:ext>
            </a:extLst>
          </p:cNvPr>
          <p:cNvSpPr>
            <a:spLocks/>
          </p:cNvSpPr>
          <p:nvPr/>
        </p:nvSpPr>
        <p:spPr bwMode="auto">
          <a:xfrm>
            <a:off x="2125733" y="5130666"/>
            <a:ext cx="407403" cy="402621"/>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33" name="Grafik 24">
            <a:extLst>
              <a:ext uri="{FF2B5EF4-FFF2-40B4-BE49-F238E27FC236}">
                <a16:creationId xmlns:a16="http://schemas.microsoft.com/office/drawing/2014/main" id="{E417ED85-06C2-4CF7-9983-CC45FC8506AF}"/>
              </a:ext>
            </a:extLst>
          </p:cNvPr>
          <p:cNvSpPr/>
          <p:nvPr/>
        </p:nvSpPr>
        <p:spPr>
          <a:xfrm>
            <a:off x="1791055" y="4728026"/>
            <a:ext cx="669356" cy="402621"/>
          </a:xfrm>
          <a:custGeom>
            <a:avLst/>
            <a:gdLst>
              <a:gd name="connsiteX0" fmla="*/ 662068 w 662616"/>
              <a:gd name="connsiteY0" fmla="*/ 85910 h 398566"/>
              <a:gd name="connsiteX1" fmla="*/ 662093 w 662616"/>
              <a:gd name="connsiteY1" fmla="*/ 85810 h 398566"/>
              <a:gd name="connsiteX2" fmla="*/ 662192 w 662616"/>
              <a:gd name="connsiteY2" fmla="*/ 85387 h 398566"/>
              <a:gd name="connsiteX3" fmla="*/ 662192 w 662616"/>
              <a:gd name="connsiteY3" fmla="*/ 85387 h 398566"/>
              <a:gd name="connsiteX4" fmla="*/ 661022 w 662616"/>
              <a:gd name="connsiteY4" fmla="*/ 51160 h 398566"/>
              <a:gd name="connsiteX5" fmla="*/ 573686 w 662616"/>
              <a:gd name="connsiteY5" fmla="*/ 2759 h 398566"/>
              <a:gd name="connsiteX6" fmla="*/ 207130 w 662616"/>
              <a:gd name="connsiteY6" fmla="*/ 107881 h 398566"/>
              <a:gd name="connsiteX7" fmla="*/ 166077 w 662616"/>
              <a:gd name="connsiteY7" fmla="*/ 139417 h 398566"/>
              <a:gd name="connsiteX8" fmla="*/ 63272 w 662616"/>
              <a:gd name="connsiteY8" fmla="*/ 105265 h 398566"/>
              <a:gd name="connsiteX9" fmla="*/ 2865 w 662616"/>
              <a:gd name="connsiteY9" fmla="*/ 185078 h 398566"/>
              <a:gd name="connsiteX10" fmla="*/ 5605 w 662616"/>
              <a:gd name="connsiteY10" fmla="*/ 204857 h 398566"/>
              <a:gd name="connsiteX11" fmla="*/ 25384 w 662616"/>
              <a:gd name="connsiteY11" fmla="*/ 202117 h 398566"/>
              <a:gd name="connsiteX12" fmla="*/ 73585 w 662616"/>
              <a:gd name="connsiteY12" fmla="*/ 138446 h 398566"/>
              <a:gd name="connsiteX13" fmla="*/ 103901 w 662616"/>
              <a:gd name="connsiteY13" fmla="*/ 148510 h 398566"/>
              <a:gd name="connsiteX14" fmla="*/ 139025 w 662616"/>
              <a:gd name="connsiteY14" fmla="*/ 261976 h 398566"/>
              <a:gd name="connsiteX15" fmla="*/ 118997 w 662616"/>
              <a:gd name="connsiteY15" fmla="*/ 288431 h 398566"/>
              <a:gd name="connsiteX16" fmla="*/ 43219 w 662616"/>
              <a:gd name="connsiteY16" fmla="*/ 263272 h 398566"/>
              <a:gd name="connsiteX17" fmla="*/ 25359 w 662616"/>
              <a:gd name="connsiteY17" fmla="*/ 272215 h 398566"/>
              <a:gd name="connsiteX18" fmla="*/ 34302 w 662616"/>
              <a:gd name="connsiteY18" fmla="*/ 290075 h 398566"/>
              <a:gd name="connsiteX19" fmla="*/ 129310 w 662616"/>
              <a:gd name="connsiteY19" fmla="*/ 321612 h 398566"/>
              <a:gd name="connsiteX20" fmla="*/ 129459 w 662616"/>
              <a:gd name="connsiteY20" fmla="*/ 321438 h 398566"/>
              <a:gd name="connsiteX21" fmla="*/ 169864 w 662616"/>
              <a:gd name="connsiteY21" fmla="*/ 268030 h 398566"/>
              <a:gd name="connsiteX22" fmla="*/ 192806 w 662616"/>
              <a:gd name="connsiteY22" fmla="*/ 237739 h 398566"/>
              <a:gd name="connsiteX23" fmla="*/ 246065 w 662616"/>
              <a:gd name="connsiteY23" fmla="*/ 243618 h 398566"/>
              <a:gd name="connsiteX24" fmla="*/ 499652 w 662616"/>
              <a:gd name="connsiteY24" fmla="*/ 170904 h 398566"/>
              <a:gd name="connsiteX25" fmla="*/ 451177 w 662616"/>
              <a:gd name="connsiteY25" fmla="*/ 398959 h 398566"/>
              <a:gd name="connsiteX26" fmla="*/ 595557 w 662616"/>
              <a:gd name="connsiteY26" fmla="*/ 398959 h 398566"/>
              <a:gd name="connsiteX27" fmla="*/ 662068 w 662616"/>
              <a:gd name="connsiteY27" fmla="*/ 85910 h 398566"/>
              <a:gd name="connsiteX28" fmla="*/ 238268 w 662616"/>
              <a:gd name="connsiteY28" fmla="*/ 216465 h 398566"/>
              <a:gd name="connsiteX29" fmla="*/ 185856 w 662616"/>
              <a:gd name="connsiteY29" fmla="*/ 187420 h 398566"/>
              <a:gd name="connsiteX30" fmla="*/ 214902 w 662616"/>
              <a:gd name="connsiteY30" fmla="*/ 135008 h 398566"/>
              <a:gd name="connsiteX31" fmla="*/ 267313 w 662616"/>
              <a:gd name="connsiteY31" fmla="*/ 164054 h 398566"/>
              <a:gd name="connsiteX32" fmla="*/ 238268 w 662616"/>
              <a:gd name="connsiteY32" fmla="*/ 216465 h 398566"/>
              <a:gd name="connsiteX33" fmla="*/ 552388 w 662616"/>
              <a:gd name="connsiteY33" fmla="*/ 82323 h 398566"/>
              <a:gd name="connsiteX34" fmla="*/ 581433 w 662616"/>
              <a:gd name="connsiteY34" fmla="*/ 29911 h 398566"/>
              <a:gd name="connsiteX35" fmla="*/ 633844 w 662616"/>
              <a:gd name="connsiteY35" fmla="*/ 58957 h 398566"/>
              <a:gd name="connsiteX36" fmla="*/ 604799 w 662616"/>
              <a:gd name="connsiteY36" fmla="*/ 111368 h 398566"/>
              <a:gd name="connsiteX37" fmla="*/ 552388 w 662616"/>
              <a:gd name="connsiteY37" fmla="*/ 82323 h 39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2616" h="398566">
                <a:moveTo>
                  <a:pt x="662068" y="85910"/>
                </a:moveTo>
                <a:cubicBezTo>
                  <a:pt x="662068" y="85885"/>
                  <a:pt x="662093" y="85835"/>
                  <a:pt x="662093" y="85810"/>
                </a:cubicBezTo>
                <a:lnTo>
                  <a:pt x="662192" y="85387"/>
                </a:lnTo>
                <a:lnTo>
                  <a:pt x="662192" y="85387"/>
                </a:lnTo>
                <a:cubicBezTo>
                  <a:pt x="664559" y="74401"/>
                  <a:pt x="664335" y="62718"/>
                  <a:pt x="661022" y="51160"/>
                </a:cubicBezTo>
                <a:cubicBezTo>
                  <a:pt x="650260" y="13670"/>
                  <a:pt x="611176" y="-8002"/>
                  <a:pt x="573686" y="2759"/>
                </a:cubicBezTo>
                <a:lnTo>
                  <a:pt x="207130" y="107881"/>
                </a:lnTo>
                <a:cubicBezTo>
                  <a:pt x="189219" y="113012"/>
                  <a:pt x="174946" y="124621"/>
                  <a:pt x="166077" y="139417"/>
                </a:cubicBezTo>
                <a:lnTo>
                  <a:pt x="63272" y="105265"/>
                </a:lnTo>
                <a:lnTo>
                  <a:pt x="2865" y="185078"/>
                </a:lnTo>
                <a:cubicBezTo>
                  <a:pt x="-1843" y="191306"/>
                  <a:pt x="-623" y="200149"/>
                  <a:pt x="5605" y="204857"/>
                </a:cubicBezTo>
                <a:cubicBezTo>
                  <a:pt x="11832" y="209565"/>
                  <a:pt x="20676" y="208344"/>
                  <a:pt x="25384" y="202117"/>
                </a:cubicBezTo>
                <a:lnTo>
                  <a:pt x="73585" y="138446"/>
                </a:lnTo>
                <a:lnTo>
                  <a:pt x="103901" y="148510"/>
                </a:lnTo>
                <a:lnTo>
                  <a:pt x="139025" y="261976"/>
                </a:lnTo>
                <a:lnTo>
                  <a:pt x="118997" y="288431"/>
                </a:lnTo>
                <a:lnTo>
                  <a:pt x="43219" y="263272"/>
                </a:lnTo>
                <a:cubicBezTo>
                  <a:pt x="35821" y="260806"/>
                  <a:pt x="27825" y="264816"/>
                  <a:pt x="25359" y="272215"/>
                </a:cubicBezTo>
                <a:cubicBezTo>
                  <a:pt x="22893" y="279613"/>
                  <a:pt x="26903" y="287609"/>
                  <a:pt x="34302" y="290075"/>
                </a:cubicBezTo>
                <a:lnTo>
                  <a:pt x="129310" y="321612"/>
                </a:lnTo>
                <a:cubicBezTo>
                  <a:pt x="129310" y="321612"/>
                  <a:pt x="129360" y="321537"/>
                  <a:pt x="129459" y="321438"/>
                </a:cubicBezTo>
                <a:lnTo>
                  <a:pt x="169864" y="268030"/>
                </a:lnTo>
                <a:cubicBezTo>
                  <a:pt x="177835" y="257493"/>
                  <a:pt x="185881" y="246856"/>
                  <a:pt x="192806" y="237739"/>
                </a:cubicBezTo>
                <a:cubicBezTo>
                  <a:pt x="208525" y="246308"/>
                  <a:pt x="227481" y="248948"/>
                  <a:pt x="246065" y="243618"/>
                </a:cubicBezTo>
                <a:lnTo>
                  <a:pt x="499652" y="170904"/>
                </a:lnTo>
                <a:lnTo>
                  <a:pt x="451177" y="398959"/>
                </a:lnTo>
                <a:lnTo>
                  <a:pt x="595557" y="398959"/>
                </a:lnTo>
                <a:lnTo>
                  <a:pt x="662068" y="85910"/>
                </a:lnTo>
                <a:close/>
                <a:moveTo>
                  <a:pt x="238268" y="216465"/>
                </a:moveTo>
                <a:cubicBezTo>
                  <a:pt x="215774" y="222917"/>
                  <a:pt x="192308" y="209914"/>
                  <a:pt x="185856" y="187420"/>
                </a:cubicBezTo>
                <a:cubicBezTo>
                  <a:pt x="179404" y="164926"/>
                  <a:pt x="192408" y="141460"/>
                  <a:pt x="214902" y="135008"/>
                </a:cubicBezTo>
                <a:cubicBezTo>
                  <a:pt x="237396" y="128556"/>
                  <a:pt x="260861" y="141560"/>
                  <a:pt x="267313" y="164054"/>
                </a:cubicBezTo>
                <a:cubicBezTo>
                  <a:pt x="273765" y="186573"/>
                  <a:pt x="260762" y="210038"/>
                  <a:pt x="238268" y="216465"/>
                </a:cubicBezTo>
                <a:close/>
                <a:moveTo>
                  <a:pt x="552388" y="82323"/>
                </a:moveTo>
                <a:cubicBezTo>
                  <a:pt x="545936" y="59829"/>
                  <a:pt x="558939" y="36363"/>
                  <a:pt x="581433" y="29911"/>
                </a:cubicBezTo>
                <a:cubicBezTo>
                  <a:pt x="603927" y="23460"/>
                  <a:pt x="627393" y="36463"/>
                  <a:pt x="633844" y="58957"/>
                </a:cubicBezTo>
                <a:cubicBezTo>
                  <a:pt x="640296" y="81451"/>
                  <a:pt x="627293" y="104917"/>
                  <a:pt x="604799" y="111368"/>
                </a:cubicBezTo>
                <a:cubicBezTo>
                  <a:pt x="582305" y="117820"/>
                  <a:pt x="558839" y="104817"/>
                  <a:pt x="552388" y="82323"/>
                </a:cubicBezTo>
                <a:close/>
              </a:path>
            </a:pathLst>
          </a:custGeom>
          <a:solidFill>
            <a:srgbClr val="66667E"/>
          </a:solidFill>
          <a:ln w="2471" cap="flat">
            <a:noFill/>
            <a:prstDash val="solid"/>
            <a:miter/>
          </a:ln>
        </p:spPr>
        <p:txBody>
          <a:bodyPr rtlCol="0" anchor="ctr"/>
          <a:lstStyle/>
          <a:p>
            <a:endParaRPr lang="en-US" sz="1798" dirty="0">
              <a:solidFill>
                <a:srgbClr val="000000"/>
              </a:solidFill>
              <a:latin typeface="Arial"/>
            </a:endParaRPr>
          </a:p>
        </p:txBody>
      </p:sp>
      <p:sp>
        <p:nvSpPr>
          <p:cNvPr id="34" name="Rechteck 33">
            <a:extLst>
              <a:ext uri="{FF2B5EF4-FFF2-40B4-BE49-F238E27FC236}">
                <a16:creationId xmlns:a16="http://schemas.microsoft.com/office/drawing/2014/main" id="{0F96FEFF-B613-4B43-9F60-7E356C7DC728}"/>
              </a:ext>
            </a:extLst>
          </p:cNvPr>
          <p:cNvSpPr>
            <a:spLocks/>
          </p:cNvSpPr>
          <p:nvPr/>
        </p:nvSpPr>
        <p:spPr bwMode="auto">
          <a:xfrm>
            <a:off x="2090130" y="5435728"/>
            <a:ext cx="478610" cy="97557"/>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35" name="Grafik 31">
            <a:extLst>
              <a:ext uri="{FF2B5EF4-FFF2-40B4-BE49-F238E27FC236}">
                <a16:creationId xmlns:a16="http://schemas.microsoft.com/office/drawing/2014/main" id="{0DF57FCA-1943-40A6-8C85-5C5190573166}"/>
              </a:ext>
            </a:extLst>
          </p:cNvPr>
          <p:cNvGrpSpPr/>
          <p:nvPr/>
        </p:nvGrpSpPr>
        <p:grpSpPr>
          <a:xfrm>
            <a:off x="2223124" y="4450082"/>
            <a:ext cx="324365" cy="313695"/>
            <a:chOff x="5375275" y="2724150"/>
            <a:chExt cx="1447800" cy="1400175"/>
          </a:xfrm>
          <a:solidFill>
            <a:srgbClr val="66667E"/>
          </a:solidFill>
        </p:grpSpPr>
        <p:sp>
          <p:nvSpPr>
            <p:cNvPr id="36" name="Freihandform: Form 35">
              <a:extLst>
                <a:ext uri="{FF2B5EF4-FFF2-40B4-BE49-F238E27FC236}">
                  <a16:creationId xmlns:a16="http://schemas.microsoft.com/office/drawing/2014/main" id="{129264A9-4FA6-4AB9-938F-C691F70B4940}"/>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37" name="Freihandform: Form 36">
              <a:extLst>
                <a:ext uri="{FF2B5EF4-FFF2-40B4-BE49-F238E27FC236}">
                  <a16:creationId xmlns:a16="http://schemas.microsoft.com/office/drawing/2014/main" id="{AF89A0D1-8DFC-46BE-907B-094AD453B53D}"/>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38" name="Freihandform: Form 37">
              <a:extLst>
                <a:ext uri="{FF2B5EF4-FFF2-40B4-BE49-F238E27FC236}">
                  <a16:creationId xmlns:a16="http://schemas.microsoft.com/office/drawing/2014/main" id="{1522710F-C4F8-4218-A819-77049F32DE28}"/>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39" name="Freihandform: Form 38">
              <a:extLst>
                <a:ext uri="{FF2B5EF4-FFF2-40B4-BE49-F238E27FC236}">
                  <a16:creationId xmlns:a16="http://schemas.microsoft.com/office/drawing/2014/main" id="{EF14F2F1-F622-4DC3-9955-F1C2C508F5C9}"/>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40" name="Freihandform: Form 39">
              <a:extLst>
                <a:ext uri="{FF2B5EF4-FFF2-40B4-BE49-F238E27FC236}">
                  <a16:creationId xmlns:a16="http://schemas.microsoft.com/office/drawing/2014/main" id="{E5572F1F-EFBD-45FB-AD9A-8993B80944EA}"/>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sp>
        <p:nvSpPr>
          <p:cNvPr id="41" name="Rechteck 40">
            <a:extLst>
              <a:ext uri="{FF2B5EF4-FFF2-40B4-BE49-F238E27FC236}">
                <a16:creationId xmlns:a16="http://schemas.microsoft.com/office/drawing/2014/main" id="{432617D1-8D8F-47A8-8CF3-54BC17DC7C5F}"/>
              </a:ext>
            </a:extLst>
          </p:cNvPr>
          <p:cNvSpPr>
            <a:spLocks/>
          </p:cNvSpPr>
          <p:nvPr/>
        </p:nvSpPr>
        <p:spPr bwMode="auto">
          <a:xfrm>
            <a:off x="1079055" y="4149149"/>
            <a:ext cx="1636952" cy="1635818"/>
          </a:xfrm>
          <a:prstGeom prst="rect">
            <a:avLst/>
          </a:prstGeom>
          <a:noFill/>
          <a:ln w="12700" cap="rnd">
            <a:solidFill>
              <a:srgbClr val="3C464B"/>
            </a:solidFill>
            <a:prstDash val="solid"/>
            <a:round/>
            <a:headEnd/>
            <a:tailEnd/>
            <a:extLst>
              <a:ext uri="{C807C97D-BFC1-408E-A445-0C87EB9F89A2}">
                <ask:lineSketchStyleProps xmlns:ask="http://schemas.microsoft.com/office/drawing/2018/sketchyshapes" sd="1634779923">
                  <a:custGeom>
                    <a:avLst/>
                    <a:gdLst>
                      <a:gd name="connsiteX0" fmla="*/ 0 w 1620468"/>
                      <a:gd name="connsiteY0" fmla="*/ 0 h 1619344"/>
                      <a:gd name="connsiteX1" fmla="*/ 1620468 w 1620468"/>
                      <a:gd name="connsiteY1" fmla="*/ 0 h 1619344"/>
                      <a:gd name="connsiteX2" fmla="*/ 1620468 w 1620468"/>
                      <a:gd name="connsiteY2" fmla="*/ 1619344 h 1619344"/>
                      <a:gd name="connsiteX3" fmla="*/ 0 w 1620468"/>
                      <a:gd name="connsiteY3" fmla="*/ 1619344 h 1619344"/>
                      <a:gd name="connsiteX4" fmla="*/ 0 w 1620468"/>
                      <a:gd name="connsiteY4" fmla="*/ 0 h 1619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468" h="1619344" extrusionOk="0">
                        <a:moveTo>
                          <a:pt x="0" y="0"/>
                        </a:moveTo>
                        <a:cubicBezTo>
                          <a:pt x="399860" y="60634"/>
                          <a:pt x="1052519" y="94414"/>
                          <a:pt x="1620468" y="0"/>
                        </a:cubicBezTo>
                        <a:cubicBezTo>
                          <a:pt x="1754777" y="440370"/>
                          <a:pt x="1742224" y="1088954"/>
                          <a:pt x="1620468" y="1619344"/>
                        </a:cubicBezTo>
                        <a:cubicBezTo>
                          <a:pt x="872907" y="1540376"/>
                          <a:pt x="615250" y="1752278"/>
                          <a:pt x="0" y="1619344"/>
                        </a:cubicBezTo>
                        <a:cubicBezTo>
                          <a:pt x="-69125" y="833375"/>
                          <a:pt x="-33853" y="796020"/>
                          <a:pt x="0" y="0"/>
                        </a:cubicBezTo>
                        <a:close/>
                      </a:path>
                    </a:pathLst>
                  </a:custGeom>
                  <ask:type>
                    <ask:lineSketchNone/>
                  </ask:type>
                </ask:lineSketchStyleProps>
              </a:ext>
            </a:extLst>
          </a:ln>
          <a:effectLst/>
        </p:spPr>
        <p:txBody>
          <a:bodyPr wrap="square" lIns="71926" tIns="53944" rIns="107888" bIns="35962" numCol="1" spcCol="72000" rtlCol="0" anchor="b">
            <a:noAutofit/>
          </a:bodyPr>
          <a:lstStyle/>
          <a:p>
            <a:pPr>
              <a:lnSpc>
                <a:spcPct val="110000"/>
              </a:lnSpc>
              <a:spcBef>
                <a:spcPct val="0"/>
              </a:spcBef>
            </a:pPr>
            <a:r>
              <a:rPr lang="en-US" sz="999">
                <a:solidFill>
                  <a:srgbClr val="000000"/>
                </a:solidFill>
                <a:latin typeface="Arial"/>
                <a:ea typeface="Arial Unicode MS" panose="020B0604020202020204" pitchFamily="34" charset="-128"/>
                <a:cs typeface="Arial Unicode MS" panose="020B0604020202020204" pitchFamily="34" charset="-128"/>
              </a:rPr>
              <a:t>Location 1</a:t>
            </a:r>
            <a:endParaRPr lang="en-US" sz="9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2" name="Rechteck 41">
            <a:extLst>
              <a:ext uri="{FF2B5EF4-FFF2-40B4-BE49-F238E27FC236}">
                <a16:creationId xmlns:a16="http://schemas.microsoft.com/office/drawing/2014/main" id="{65A1228E-1F6E-4A36-AFD4-25CA42EC27E4}"/>
              </a:ext>
            </a:extLst>
          </p:cNvPr>
          <p:cNvSpPr>
            <a:spLocks/>
          </p:cNvSpPr>
          <p:nvPr/>
        </p:nvSpPr>
        <p:spPr bwMode="auto">
          <a:xfrm>
            <a:off x="2788742" y="4149149"/>
            <a:ext cx="1636952" cy="1635818"/>
          </a:xfrm>
          <a:prstGeom prst="rect">
            <a:avLst/>
          </a:prstGeom>
          <a:noFill/>
          <a:ln w="12700" cap="rnd">
            <a:solidFill>
              <a:schemeClr val="accent1"/>
            </a:solidFill>
            <a:prstDash val="solid"/>
            <a:round/>
            <a:headEnd/>
            <a:tailEnd/>
            <a:extLst>
              <a:ext uri="{C807C97D-BFC1-408E-A445-0C87EB9F89A2}">
                <ask:lineSketchStyleProps xmlns:ask="http://schemas.microsoft.com/office/drawing/2018/sketchyshapes" sd="1634779923">
                  <a:custGeom>
                    <a:avLst/>
                    <a:gdLst>
                      <a:gd name="connsiteX0" fmla="*/ 0 w 1620468"/>
                      <a:gd name="connsiteY0" fmla="*/ 0 h 1619344"/>
                      <a:gd name="connsiteX1" fmla="*/ 1620468 w 1620468"/>
                      <a:gd name="connsiteY1" fmla="*/ 0 h 1619344"/>
                      <a:gd name="connsiteX2" fmla="*/ 1620468 w 1620468"/>
                      <a:gd name="connsiteY2" fmla="*/ 1619344 h 1619344"/>
                      <a:gd name="connsiteX3" fmla="*/ 0 w 1620468"/>
                      <a:gd name="connsiteY3" fmla="*/ 1619344 h 1619344"/>
                      <a:gd name="connsiteX4" fmla="*/ 0 w 1620468"/>
                      <a:gd name="connsiteY4" fmla="*/ 0 h 1619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468" h="1619344" extrusionOk="0">
                        <a:moveTo>
                          <a:pt x="0" y="0"/>
                        </a:moveTo>
                        <a:cubicBezTo>
                          <a:pt x="399860" y="60634"/>
                          <a:pt x="1052519" y="94414"/>
                          <a:pt x="1620468" y="0"/>
                        </a:cubicBezTo>
                        <a:cubicBezTo>
                          <a:pt x="1754777" y="440370"/>
                          <a:pt x="1742224" y="1088954"/>
                          <a:pt x="1620468" y="1619344"/>
                        </a:cubicBezTo>
                        <a:cubicBezTo>
                          <a:pt x="872907" y="1540376"/>
                          <a:pt x="615250" y="1752278"/>
                          <a:pt x="0" y="1619344"/>
                        </a:cubicBezTo>
                        <a:cubicBezTo>
                          <a:pt x="-69125" y="833375"/>
                          <a:pt x="-33853" y="796020"/>
                          <a:pt x="0" y="0"/>
                        </a:cubicBezTo>
                        <a:close/>
                      </a:path>
                    </a:pathLst>
                  </a:custGeom>
                  <ask:type>
                    <ask:lineSketchNone/>
                  </ask:type>
                </ask:lineSketchStyleProps>
              </a:ext>
            </a:extLst>
          </a:ln>
          <a:effectLst/>
        </p:spPr>
        <p:txBody>
          <a:bodyPr wrap="square" lIns="71926" tIns="53944" rIns="107888" bIns="35962" numCol="1" spcCol="72000" rtlCol="0" anchor="b">
            <a:noAutofit/>
          </a:bodyPr>
          <a:lstStyle/>
          <a:p>
            <a:pPr>
              <a:lnSpc>
                <a:spcPct val="110000"/>
              </a:lnSpc>
              <a:spcBef>
                <a:spcPct val="0"/>
              </a:spcBef>
            </a:pPr>
            <a:r>
              <a:rPr lang="en-US" sz="999">
                <a:solidFill>
                  <a:srgbClr val="000000"/>
                </a:solidFill>
                <a:latin typeface="Arial"/>
                <a:ea typeface="Arial Unicode MS" panose="020B0604020202020204" pitchFamily="34" charset="-128"/>
                <a:cs typeface="Arial Unicode MS" panose="020B0604020202020204" pitchFamily="34" charset="-128"/>
              </a:rPr>
              <a:t>Location 2</a:t>
            </a:r>
            <a:endParaRPr lang="en-US" sz="999"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43" name="Grafik 51">
            <a:extLst>
              <a:ext uri="{FF2B5EF4-FFF2-40B4-BE49-F238E27FC236}">
                <a16:creationId xmlns:a16="http://schemas.microsoft.com/office/drawing/2014/main" id="{9AC0BA8C-EBA2-4CBA-B009-43BE82A70B2D}"/>
              </a:ext>
            </a:extLst>
          </p:cNvPr>
          <p:cNvGrpSpPr>
            <a:grpSpLocks/>
          </p:cNvGrpSpPr>
          <p:nvPr/>
        </p:nvGrpSpPr>
        <p:grpSpPr>
          <a:xfrm>
            <a:off x="3359967" y="4779195"/>
            <a:ext cx="955182" cy="754089"/>
            <a:chOff x="3384550" y="1285875"/>
            <a:chExt cx="5429250" cy="4286250"/>
          </a:xfrm>
          <a:solidFill>
            <a:srgbClr val="66667E"/>
          </a:solidFill>
        </p:grpSpPr>
        <p:sp>
          <p:nvSpPr>
            <p:cNvPr id="44" name="Freihandform: Form 43">
              <a:extLst>
                <a:ext uri="{FF2B5EF4-FFF2-40B4-BE49-F238E27FC236}">
                  <a16:creationId xmlns:a16="http://schemas.microsoft.com/office/drawing/2014/main" id="{7D72F73C-4F70-4FFB-82D3-8780D4CFCBB9}"/>
                </a:ext>
              </a:extLst>
            </p:cNvPr>
            <p:cNvSpPr/>
            <p:nvPr/>
          </p:nvSpPr>
          <p:spPr>
            <a:xfrm>
              <a:off x="3907663" y="2903411"/>
              <a:ext cx="1781175" cy="1019175"/>
            </a:xfrm>
            <a:custGeom>
              <a:avLst/>
              <a:gdLst>
                <a:gd name="connsiteX0" fmla="*/ 0 w 1781175"/>
                <a:gd name="connsiteY0" fmla="*/ 0 h 1019175"/>
                <a:gd name="connsiteX1" fmla="*/ 0 w 1781175"/>
                <a:gd name="connsiteY1" fmla="*/ 1025938 h 1019175"/>
                <a:gd name="connsiteX2" fmla="*/ 1782032 w 1781175"/>
                <a:gd name="connsiteY2" fmla="*/ 1025938 h 1019175"/>
                <a:gd name="connsiteX3" fmla="*/ 1782032 w 1781175"/>
                <a:gd name="connsiteY3" fmla="*/ 0 h 1019175"/>
                <a:gd name="connsiteX4" fmla="*/ 0 w 1781175"/>
                <a:gd name="connsiteY4" fmla="*/ 0 h 1019175"/>
                <a:gd name="connsiteX5" fmla="*/ 1674019 w 1781175"/>
                <a:gd name="connsiteY5" fmla="*/ 917924 h 1019175"/>
                <a:gd name="connsiteX6" fmla="*/ 108014 w 1781175"/>
                <a:gd name="connsiteY6" fmla="*/ 917924 h 1019175"/>
                <a:gd name="connsiteX7" fmla="*/ 108014 w 1781175"/>
                <a:gd name="connsiteY7" fmla="*/ 810006 h 1019175"/>
                <a:gd name="connsiteX8" fmla="*/ 1674019 w 1781175"/>
                <a:gd name="connsiteY8" fmla="*/ 810006 h 1019175"/>
                <a:gd name="connsiteX9" fmla="*/ 1674019 w 1781175"/>
                <a:gd name="connsiteY9" fmla="*/ 917924 h 1019175"/>
                <a:gd name="connsiteX10" fmla="*/ 1593056 w 1781175"/>
                <a:gd name="connsiteY10" fmla="*/ 323945 h 1019175"/>
                <a:gd name="connsiteX11" fmla="*/ 1532954 w 1781175"/>
                <a:gd name="connsiteY11" fmla="*/ 297180 h 1019175"/>
                <a:gd name="connsiteX12" fmla="*/ 1320451 w 1781175"/>
                <a:gd name="connsiteY12" fmla="*/ 350044 h 1019175"/>
                <a:gd name="connsiteX13" fmla="*/ 1241965 w 1781175"/>
                <a:gd name="connsiteY13" fmla="*/ 411289 h 1019175"/>
                <a:gd name="connsiteX14" fmla="*/ 1196245 w 1781175"/>
                <a:gd name="connsiteY14" fmla="*/ 397097 h 1019175"/>
                <a:gd name="connsiteX15" fmla="*/ 971931 w 1781175"/>
                <a:gd name="connsiteY15" fmla="*/ 513778 h 1019175"/>
                <a:gd name="connsiteX16" fmla="*/ 890969 w 1781175"/>
                <a:gd name="connsiteY16" fmla="*/ 593979 h 1019175"/>
                <a:gd name="connsiteX17" fmla="*/ 811530 w 1781175"/>
                <a:gd name="connsiteY17" fmla="*/ 528352 h 1019175"/>
                <a:gd name="connsiteX18" fmla="*/ 597122 w 1781175"/>
                <a:gd name="connsiteY18" fmla="*/ 462439 h 1019175"/>
                <a:gd name="connsiteX19" fmla="*/ 539972 w 1781175"/>
                <a:gd name="connsiteY19" fmla="*/ 485965 h 1019175"/>
                <a:gd name="connsiteX20" fmla="*/ 499205 w 1781175"/>
                <a:gd name="connsiteY20" fmla="*/ 474821 h 1019175"/>
                <a:gd name="connsiteX21" fmla="*/ 269748 w 1781175"/>
                <a:gd name="connsiteY21" fmla="*/ 615982 h 1019175"/>
                <a:gd name="connsiteX22" fmla="*/ 270034 w 1781175"/>
                <a:gd name="connsiteY22" fmla="*/ 620935 h 1019175"/>
                <a:gd name="connsiteX23" fmla="*/ 188976 w 1781175"/>
                <a:gd name="connsiteY23" fmla="*/ 701993 h 1019175"/>
                <a:gd name="connsiteX24" fmla="*/ 108014 w 1781175"/>
                <a:gd name="connsiteY24" fmla="*/ 620935 h 1019175"/>
                <a:gd name="connsiteX25" fmla="*/ 188976 w 1781175"/>
                <a:gd name="connsiteY25" fmla="*/ 539972 h 1019175"/>
                <a:gd name="connsiteX26" fmla="*/ 229838 w 1781175"/>
                <a:gd name="connsiteY26" fmla="*/ 551116 h 1019175"/>
                <a:gd name="connsiteX27" fmla="*/ 459296 w 1781175"/>
                <a:gd name="connsiteY27" fmla="*/ 409956 h 1019175"/>
                <a:gd name="connsiteX28" fmla="*/ 459010 w 1781175"/>
                <a:gd name="connsiteY28" fmla="*/ 405003 h 1019175"/>
                <a:gd name="connsiteX29" fmla="*/ 539972 w 1781175"/>
                <a:gd name="connsiteY29" fmla="*/ 323945 h 1019175"/>
                <a:gd name="connsiteX30" fmla="*/ 619506 w 1781175"/>
                <a:gd name="connsiteY30" fmla="*/ 389572 h 1019175"/>
                <a:gd name="connsiteX31" fmla="*/ 833914 w 1781175"/>
                <a:gd name="connsiteY31" fmla="*/ 455485 h 1019175"/>
                <a:gd name="connsiteX32" fmla="*/ 890969 w 1781175"/>
                <a:gd name="connsiteY32" fmla="*/ 431959 h 1019175"/>
                <a:gd name="connsiteX33" fmla="*/ 936784 w 1781175"/>
                <a:gd name="connsiteY33" fmla="*/ 446151 h 1019175"/>
                <a:gd name="connsiteX34" fmla="*/ 1161098 w 1781175"/>
                <a:gd name="connsiteY34" fmla="*/ 329470 h 1019175"/>
                <a:gd name="connsiteX35" fmla="*/ 1241965 w 1781175"/>
                <a:gd name="connsiteY35" fmla="*/ 249364 h 1019175"/>
                <a:gd name="connsiteX36" fmla="*/ 1302068 w 1781175"/>
                <a:gd name="connsiteY36" fmla="*/ 276130 h 1019175"/>
                <a:gd name="connsiteX37" fmla="*/ 1514570 w 1781175"/>
                <a:gd name="connsiteY37" fmla="*/ 223266 h 1019175"/>
                <a:gd name="connsiteX38" fmla="*/ 1593056 w 1781175"/>
                <a:gd name="connsiteY38" fmla="*/ 161925 h 1019175"/>
                <a:gd name="connsiteX39" fmla="*/ 1674019 w 1781175"/>
                <a:gd name="connsiteY39" fmla="*/ 242983 h 1019175"/>
                <a:gd name="connsiteX40" fmla="*/ 1593056 w 1781175"/>
                <a:gd name="connsiteY40" fmla="*/ 32394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81175" h="1019175">
                  <a:moveTo>
                    <a:pt x="0" y="0"/>
                  </a:moveTo>
                  <a:lnTo>
                    <a:pt x="0" y="1025938"/>
                  </a:lnTo>
                  <a:lnTo>
                    <a:pt x="1782032" y="1025938"/>
                  </a:lnTo>
                  <a:lnTo>
                    <a:pt x="1782032" y="0"/>
                  </a:lnTo>
                  <a:lnTo>
                    <a:pt x="0" y="0"/>
                  </a:lnTo>
                  <a:close/>
                  <a:moveTo>
                    <a:pt x="1674019" y="917924"/>
                  </a:moveTo>
                  <a:lnTo>
                    <a:pt x="108014" y="917924"/>
                  </a:lnTo>
                  <a:lnTo>
                    <a:pt x="108014" y="810006"/>
                  </a:lnTo>
                  <a:lnTo>
                    <a:pt x="1674019" y="810006"/>
                  </a:lnTo>
                  <a:lnTo>
                    <a:pt x="1674019" y="917924"/>
                  </a:lnTo>
                  <a:close/>
                  <a:moveTo>
                    <a:pt x="1593056" y="323945"/>
                  </a:moveTo>
                  <a:cubicBezTo>
                    <a:pt x="1569149" y="323945"/>
                    <a:pt x="1547813" y="313563"/>
                    <a:pt x="1532954" y="297180"/>
                  </a:cubicBezTo>
                  <a:lnTo>
                    <a:pt x="1320451" y="350044"/>
                  </a:lnTo>
                  <a:cubicBezTo>
                    <a:pt x="1311688" y="385286"/>
                    <a:pt x="1279970" y="411289"/>
                    <a:pt x="1241965" y="411289"/>
                  </a:cubicBezTo>
                  <a:cubicBezTo>
                    <a:pt x="1225010" y="411289"/>
                    <a:pt x="1209199" y="406051"/>
                    <a:pt x="1196245" y="397097"/>
                  </a:cubicBezTo>
                  <a:lnTo>
                    <a:pt x="971931" y="513778"/>
                  </a:lnTo>
                  <a:cubicBezTo>
                    <a:pt x="971550" y="558165"/>
                    <a:pt x="935450" y="593979"/>
                    <a:pt x="890969" y="593979"/>
                  </a:cubicBezTo>
                  <a:cubicBezTo>
                    <a:pt x="851535" y="593979"/>
                    <a:pt x="818674" y="565690"/>
                    <a:pt x="811530" y="528352"/>
                  </a:cubicBezTo>
                  <a:lnTo>
                    <a:pt x="597122" y="462439"/>
                  </a:lnTo>
                  <a:cubicBezTo>
                    <a:pt x="582454" y="476917"/>
                    <a:pt x="562261" y="485965"/>
                    <a:pt x="539972" y="485965"/>
                  </a:cubicBezTo>
                  <a:cubicBezTo>
                    <a:pt x="525113" y="485965"/>
                    <a:pt x="511207" y="481870"/>
                    <a:pt x="499205" y="474821"/>
                  </a:cubicBezTo>
                  <a:lnTo>
                    <a:pt x="269748" y="615982"/>
                  </a:lnTo>
                  <a:cubicBezTo>
                    <a:pt x="269843" y="617696"/>
                    <a:pt x="270034" y="619315"/>
                    <a:pt x="270034" y="620935"/>
                  </a:cubicBezTo>
                  <a:cubicBezTo>
                    <a:pt x="270034" y="665702"/>
                    <a:pt x="233744" y="701993"/>
                    <a:pt x="188976" y="701993"/>
                  </a:cubicBezTo>
                  <a:cubicBezTo>
                    <a:pt x="144304" y="701993"/>
                    <a:pt x="108014" y="665702"/>
                    <a:pt x="108014" y="620935"/>
                  </a:cubicBezTo>
                  <a:cubicBezTo>
                    <a:pt x="108014" y="576263"/>
                    <a:pt x="144304" y="539972"/>
                    <a:pt x="188976" y="539972"/>
                  </a:cubicBezTo>
                  <a:cubicBezTo>
                    <a:pt x="203930" y="539972"/>
                    <a:pt x="217837" y="544068"/>
                    <a:pt x="229838" y="551116"/>
                  </a:cubicBezTo>
                  <a:lnTo>
                    <a:pt x="459296" y="409956"/>
                  </a:lnTo>
                  <a:cubicBezTo>
                    <a:pt x="459200" y="408241"/>
                    <a:pt x="459010" y="406622"/>
                    <a:pt x="459010" y="405003"/>
                  </a:cubicBezTo>
                  <a:cubicBezTo>
                    <a:pt x="459010" y="360235"/>
                    <a:pt x="495300" y="323945"/>
                    <a:pt x="539972" y="323945"/>
                  </a:cubicBezTo>
                  <a:cubicBezTo>
                    <a:pt x="579501" y="323945"/>
                    <a:pt x="612267" y="352234"/>
                    <a:pt x="619506" y="389572"/>
                  </a:cubicBezTo>
                  <a:lnTo>
                    <a:pt x="833914" y="455485"/>
                  </a:lnTo>
                  <a:cubicBezTo>
                    <a:pt x="848582" y="441007"/>
                    <a:pt x="868680" y="431959"/>
                    <a:pt x="890969" y="431959"/>
                  </a:cubicBezTo>
                  <a:cubicBezTo>
                    <a:pt x="908018" y="431959"/>
                    <a:pt x="923734" y="437197"/>
                    <a:pt x="936784" y="446151"/>
                  </a:cubicBezTo>
                  <a:lnTo>
                    <a:pt x="1161098" y="329470"/>
                  </a:lnTo>
                  <a:cubicBezTo>
                    <a:pt x="1161479" y="285178"/>
                    <a:pt x="1197578" y="249364"/>
                    <a:pt x="1241965" y="249364"/>
                  </a:cubicBezTo>
                  <a:cubicBezTo>
                    <a:pt x="1265873" y="249364"/>
                    <a:pt x="1287209" y="259747"/>
                    <a:pt x="1302068" y="276130"/>
                  </a:cubicBezTo>
                  <a:lnTo>
                    <a:pt x="1514570" y="223266"/>
                  </a:lnTo>
                  <a:cubicBezTo>
                    <a:pt x="1523333" y="188023"/>
                    <a:pt x="1555052" y="161925"/>
                    <a:pt x="1593056" y="161925"/>
                  </a:cubicBezTo>
                  <a:cubicBezTo>
                    <a:pt x="1637729" y="161925"/>
                    <a:pt x="1674019" y="198215"/>
                    <a:pt x="1674019" y="242983"/>
                  </a:cubicBezTo>
                  <a:cubicBezTo>
                    <a:pt x="1674019" y="287655"/>
                    <a:pt x="1637729" y="323945"/>
                    <a:pt x="1593056" y="323945"/>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45" name="Freihandform: Form 44">
              <a:extLst>
                <a:ext uri="{FF2B5EF4-FFF2-40B4-BE49-F238E27FC236}">
                  <a16:creationId xmlns:a16="http://schemas.microsoft.com/office/drawing/2014/main" id="{DCC2C132-AFD3-489F-891A-25772575CDA6}"/>
                </a:ext>
              </a:extLst>
            </p:cNvPr>
            <p:cNvSpPr/>
            <p:nvPr/>
          </p:nvSpPr>
          <p:spPr>
            <a:xfrm>
              <a:off x="3384550" y="2134267"/>
              <a:ext cx="5419725" cy="3438525"/>
            </a:xfrm>
            <a:custGeom>
              <a:avLst/>
              <a:gdLst>
                <a:gd name="connsiteX0" fmla="*/ 0 w 5419725"/>
                <a:gd name="connsiteY0" fmla="*/ 0 h 3438525"/>
                <a:gd name="connsiteX1" fmla="*/ 0 w 5419725"/>
                <a:gd name="connsiteY1" fmla="*/ 3442145 h 3438525"/>
                <a:gd name="connsiteX2" fmla="*/ 5426107 w 5419725"/>
                <a:gd name="connsiteY2" fmla="*/ 3442145 h 3438525"/>
                <a:gd name="connsiteX3" fmla="*/ 5426107 w 5419725"/>
                <a:gd name="connsiteY3" fmla="*/ 0 h 3438525"/>
                <a:gd name="connsiteX4" fmla="*/ 0 w 5419725"/>
                <a:gd name="connsiteY4" fmla="*/ 0 h 3438525"/>
                <a:gd name="connsiteX5" fmla="*/ 3643694 w 5419725"/>
                <a:gd name="connsiteY5" fmla="*/ 445198 h 3438525"/>
                <a:gd name="connsiteX6" fmla="*/ 4129659 w 5419725"/>
                <a:gd name="connsiteY6" fmla="*/ 445198 h 3438525"/>
                <a:gd name="connsiteX7" fmla="*/ 4129659 w 5419725"/>
                <a:gd name="connsiteY7" fmla="*/ 769144 h 3438525"/>
                <a:gd name="connsiteX8" fmla="*/ 3643694 w 5419725"/>
                <a:gd name="connsiteY8" fmla="*/ 769144 h 3438525"/>
                <a:gd name="connsiteX9" fmla="*/ 3643694 w 5419725"/>
                <a:gd name="connsiteY9" fmla="*/ 445198 h 3438525"/>
                <a:gd name="connsiteX10" fmla="*/ 3643694 w 5419725"/>
                <a:gd name="connsiteY10" fmla="*/ 931164 h 3438525"/>
                <a:gd name="connsiteX11" fmla="*/ 4129659 w 5419725"/>
                <a:gd name="connsiteY11" fmla="*/ 931164 h 3438525"/>
                <a:gd name="connsiteX12" fmla="*/ 4129659 w 5419725"/>
                <a:gd name="connsiteY12" fmla="*/ 1255205 h 3438525"/>
                <a:gd name="connsiteX13" fmla="*/ 3643694 w 5419725"/>
                <a:gd name="connsiteY13" fmla="*/ 1255205 h 3438525"/>
                <a:gd name="connsiteX14" fmla="*/ 3643694 w 5419725"/>
                <a:gd name="connsiteY14" fmla="*/ 931164 h 3438525"/>
                <a:gd name="connsiteX15" fmla="*/ 3643694 w 5419725"/>
                <a:gd name="connsiteY15" fmla="*/ 1417225 h 3438525"/>
                <a:gd name="connsiteX16" fmla="*/ 4129659 w 5419725"/>
                <a:gd name="connsiteY16" fmla="*/ 1417225 h 3438525"/>
                <a:gd name="connsiteX17" fmla="*/ 4129659 w 5419725"/>
                <a:gd name="connsiteY17" fmla="*/ 1741170 h 3438525"/>
                <a:gd name="connsiteX18" fmla="*/ 3643694 w 5419725"/>
                <a:gd name="connsiteY18" fmla="*/ 1741170 h 3438525"/>
                <a:gd name="connsiteX19" fmla="*/ 3643694 w 5419725"/>
                <a:gd name="connsiteY19" fmla="*/ 1417225 h 3438525"/>
                <a:gd name="connsiteX20" fmla="*/ 2995708 w 5419725"/>
                <a:gd name="connsiteY20" fmla="*/ 445198 h 3438525"/>
                <a:gd name="connsiteX21" fmla="*/ 3481673 w 5419725"/>
                <a:gd name="connsiteY21" fmla="*/ 445198 h 3438525"/>
                <a:gd name="connsiteX22" fmla="*/ 3481673 w 5419725"/>
                <a:gd name="connsiteY22" fmla="*/ 769144 h 3438525"/>
                <a:gd name="connsiteX23" fmla="*/ 2995708 w 5419725"/>
                <a:gd name="connsiteY23" fmla="*/ 769144 h 3438525"/>
                <a:gd name="connsiteX24" fmla="*/ 2995708 w 5419725"/>
                <a:gd name="connsiteY24" fmla="*/ 445198 h 3438525"/>
                <a:gd name="connsiteX25" fmla="*/ 2995708 w 5419725"/>
                <a:gd name="connsiteY25" fmla="*/ 931164 h 3438525"/>
                <a:gd name="connsiteX26" fmla="*/ 3481673 w 5419725"/>
                <a:gd name="connsiteY26" fmla="*/ 931164 h 3438525"/>
                <a:gd name="connsiteX27" fmla="*/ 3481673 w 5419725"/>
                <a:gd name="connsiteY27" fmla="*/ 1255205 h 3438525"/>
                <a:gd name="connsiteX28" fmla="*/ 2995708 w 5419725"/>
                <a:gd name="connsiteY28" fmla="*/ 1255205 h 3438525"/>
                <a:gd name="connsiteX29" fmla="*/ 2995708 w 5419725"/>
                <a:gd name="connsiteY29" fmla="*/ 931164 h 3438525"/>
                <a:gd name="connsiteX30" fmla="*/ 2995708 w 5419725"/>
                <a:gd name="connsiteY30" fmla="*/ 1417225 h 3438525"/>
                <a:gd name="connsiteX31" fmla="*/ 3481673 w 5419725"/>
                <a:gd name="connsiteY31" fmla="*/ 1417225 h 3438525"/>
                <a:gd name="connsiteX32" fmla="*/ 3481673 w 5419725"/>
                <a:gd name="connsiteY32" fmla="*/ 1741170 h 3438525"/>
                <a:gd name="connsiteX33" fmla="*/ 2995708 w 5419725"/>
                <a:gd name="connsiteY33" fmla="*/ 1741170 h 3438525"/>
                <a:gd name="connsiteX34" fmla="*/ 2995708 w 5419725"/>
                <a:gd name="connsiteY34" fmla="*/ 1417225 h 3438525"/>
                <a:gd name="connsiteX35" fmla="*/ 2413159 w 5419725"/>
                <a:gd name="connsiteY35" fmla="*/ 1903095 h 3438525"/>
                <a:gd name="connsiteX36" fmla="*/ 415100 w 5419725"/>
                <a:gd name="connsiteY36" fmla="*/ 1903095 h 3438525"/>
                <a:gd name="connsiteX37" fmla="*/ 415100 w 5419725"/>
                <a:gd name="connsiteY37" fmla="*/ 391097 h 3438525"/>
                <a:gd name="connsiteX38" fmla="*/ 2413159 w 5419725"/>
                <a:gd name="connsiteY38" fmla="*/ 391097 h 3438525"/>
                <a:gd name="connsiteX39" fmla="*/ 2413159 w 5419725"/>
                <a:gd name="connsiteY39" fmla="*/ 1903095 h 3438525"/>
                <a:gd name="connsiteX40" fmla="*/ 4777645 w 5419725"/>
                <a:gd name="connsiteY40" fmla="*/ 2053018 h 3438525"/>
                <a:gd name="connsiteX41" fmla="*/ 2995708 w 5419725"/>
                <a:gd name="connsiteY41" fmla="*/ 2053018 h 3438525"/>
                <a:gd name="connsiteX42" fmla="*/ 2995708 w 5419725"/>
                <a:gd name="connsiteY42" fmla="*/ 1955101 h 3438525"/>
                <a:gd name="connsiteX43" fmla="*/ 4777645 w 5419725"/>
                <a:gd name="connsiteY43" fmla="*/ 1955101 h 3438525"/>
                <a:gd name="connsiteX44" fmla="*/ 4777645 w 5419725"/>
                <a:gd name="connsiteY44" fmla="*/ 2053018 h 3438525"/>
                <a:gd name="connsiteX45" fmla="*/ 4777645 w 5419725"/>
                <a:gd name="connsiteY45" fmla="*/ 1741170 h 3438525"/>
                <a:gd name="connsiteX46" fmla="*/ 4291680 w 5419725"/>
                <a:gd name="connsiteY46" fmla="*/ 1741170 h 3438525"/>
                <a:gd name="connsiteX47" fmla="*/ 4291680 w 5419725"/>
                <a:gd name="connsiteY47" fmla="*/ 1417225 h 3438525"/>
                <a:gd name="connsiteX48" fmla="*/ 4777645 w 5419725"/>
                <a:gd name="connsiteY48" fmla="*/ 1417225 h 3438525"/>
                <a:gd name="connsiteX49" fmla="*/ 4777645 w 5419725"/>
                <a:gd name="connsiteY49" fmla="*/ 1741170 h 3438525"/>
                <a:gd name="connsiteX50" fmla="*/ 4777645 w 5419725"/>
                <a:gd name="connsiteY50" fmla="*/ 1255205 h 3438525"/>
                <a:gd name="connsiteX51" fmla="*/ 4291680 w 5419725"/>
                <a:gd name="connsiteY51" fmla="*/ 1255205 h 3438525"/>
                <a:gd name="connsiteX52" fmla="*/ 4291680 w 5419725"/>
                <a:gd name="connsiteY52" fmla="*/ 931164 h 3438525"/>
                <a:gd name="connsiteX53" fmla="*/ 4777645 w 5419725"/>
                <a:gd name="connsiteY53" fmla="*/ 931164 h 3438525"/>
                <a:gd name="connsiteX54" fmla="*/ 4777645 w 5419725"/>
                <a:gd name="connsiteY54" fmla="*/ 1255205 h 3438525"/>
                <a:gd name="connsiteX55" fmla="*/ 4777645 w 5419725"/>
                <a:gd name="connsiteY55" fmla="*/ 769144 h 3438525"/>
                <a:gd name="connsiteX56" fmla="*/ 4291680 w 5419725"/>
                <a:gd name="connsiteY56" fmla="*/ 769144 h 3438525"/>
                <a:gd name="connsiteX57" fmla="*/ 4291680 w 5419725"/>
                <a:gd name="connsiteY57" fmla="*/ 445198 h 3438525"/>
                <a:gd name="connsiteX58" fmla="*/ 4777645 w 5419725"/>
                <a:gd name="connsiteY58" fmla="*/ 445198 h 3438525"/>
                <a:gd name="connsiteX59" fmla="*/ 4777645 w 5419725"/>
                <a:gd name="connsiteY59" fmla="*/ 7691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419725" h="3438525">
                  <a:moveTo>
                    <a:pt x="0" y="0"/>
                  </a:moveTo>
                  <a:lnTo>
                    <a:pt x="0" y="3442145"/>
                  </a:lnTo>
                  <a:lnTo>
                    <a:pt x="5426107" y="3442145"/>
                  </a:lnTo>
                  <a:lnTo>
                    <a:pt x="5426107" y="0"/>
                  </a:lnTo>
                  <a:lnTo>
                    <a:pt x="0" y="0"/>
                  </a:lnTo>
                  <a:close/>
                  <a:moveTo>
                    <a:pt x="3643694" y="445198"/>
                  </a:moveTo>
                  <a:lnTo>
                    <a:pt x="4129659" y="445198"/>
                  </a:lnTo>
                  <a:lnTo>
                    <a:pt x="4129659" y="769144"/>
                  </a:lnTo>
                  <a:lnTo>
                    <a:pt x="3643694" y="769144"/>
                  </a:lnTo>
                  <a:lnTo>
                    <a:pt x="3643694" y="445198"/>
                  </a:lnTo>
                  <a:close/>
                  <a:moveTo>
                    <a:pt x="3643694" y="931164"/>
                  </a:moveTo>
                  <a:lnTo>
                    <a:pt x="4129659" y="931164"/>
                  </a:lnTo>
                  <a:lnTo>
                    <a:pt x="4129659" y="1255205"/>
                  </a:lnTo>
                  <a:lnTo>
                    <a:pt x="3643694" y="1255205"/>
                  </a:lnTo>
                  <a:lnTo>
                    <a:pt x="3643694" y="931164"/>
                  </a:lnTo>
                  <a:close/>
                  <a:moveTo>
                    <a:pt x="3643694" y="1417225"/>
                  </a:moveTo>
                  <a:lnTo>
                    <a:pt x="4129659" y="1417225"/>
                  </a:lnTo>
                  <a:lnTo>
                    <a:pt x="4129659" y="1741170"/>
                  </a:lnTo>
                  <a:lnTo>
                    <a:pt x="3643694" y="1741170"/>
                  </a:lnTo>
                  <a:lnTo>
                    <a:pt x="3643694" y="1417225"/>
                  </a:lnTo>
                  <a:close/>
                  <a:moveTo>
                    <a:pt x="2995708" y="445198"/>
                  </a:moveTo>
                  <a:lnTo>
                    <a:pt x="3481673" y="445198"/>
                  </a:lnTo>
                  <a:lnTo>
                    <a:pt x="3481673" y="769144"/>
                  </a:lnTo>
                  <a:lnTo>
                    <a:pt x="2995708" y="769144"/>
                  </a:lnTo>
                  <a:lnTo>
                    <a:pt x="2995708" y="445198"/>
                  </a:lnTo>
                  <a:close/>
                  <a:moveTo>
                    <a:pt x="2995708" y="931164"/>
                  </a:moveTo>
                  <a:lnTo>
                    <a:pt x="3481673" y="931164"/>
                  </a:lnTo>
                  <a:lnTo>
                    <a:pt x="3481673" y="1255205"/>
                  </a:lnTo>
                  <a:lnTo>
                    <a:pt x="2995708" y="1255205"/>
                  </a:lnTo>
                  <a:lnTo>
                    <a:pt x="2995708" y="931164"/>
                  </a:lnTo>
                  <a:close/>
                  <a:moveTo>
                    <a:pt x="2995708" y="1417225"/>
                  </a:moveTo>
                  <a:lnTo>
                    <a:pt x="3481673" y="1417225"/>
                  </a:lnTo>
                  <a:lnTo>
                    <a:pt x="3481673" y="1741170"/>
                  </a:lnTo>
                  <a:lnTo>
                    <a:pt x="2995708" y="1741170"/>
                  </a:lnTo>
                  <a:lnTo>
                    <a:pt x="2995708" y="1417225"/>
                  </a:lnTo>
                  <a:close/>
                  <a:moveTo>
                    <a:pt x="2413159" y="1903095"/>
                  </a:moveTo>
                  <a:lnTo>
                    <a:pt x="415100" y="1903095"/>
                  </a:lnTo>
                  <a:lnTo>
                    <a:pt x="415100" y="391097"/>
                  </a:lnTo>
                  <a:lnTo>
                    <a:pt x="2413159" y="391097"/>
                  </a:lnTo>
                  <a:lnTo>
                    <a:pt x="2413159" y="1903095"/>
                  </a:lnTo>
                  <a:close/>
                  <a:moveTo>
                    <a:pt x="4777645" y="2053018"/>
                  </a:moveTo>
                  <a:lnTo>
                    <a:pt x="2995708" y="2053018"/>
                  </a:lnTo>
                  <a:lnTo>
                    <a:pt x="2995708" y="1955101"/>
                  </a:lnTo>
                  <a:lnTo>
                    <a:pt x="4777645" y="1955101"/>
                  </a:lnTo>
                  <a:lnTo>
                    <a:pt x="4777645" y="2053018"/>
                  </a:lnTo>
                  <a:close/>
                  <a:moveTo>
                    <a:pt x="4777645" y="1741170"/>
                  </a:moveTo>
                  <a:lnTo>
                    <a:pt x="4291680" y="1741170"/>
                  </a:lnTo>
                  <a:lnTo>
                    <a:pt x="4291680" y="1417225"/>
                  </a:lnTo>
                  <a:lnTo>
                    <a:pt x="4777645" y="1417225"/>
                  </a:lnTo>
                  <a:lnTo>
                    <a:pt x="4777645" y="1741170"/>
                  </a:lnTo>
                  <a:close/>
                  <a:moveTo>
                    <a:pt x="4777645" y="1255205"/>
                  </a:moveTo>
                  <a:lnTo>
                    <a:pt x="4291680" y="1255205"/>
                  </a:lnTo>
                  <a:lnTo>
                    <a:pt x="4291680" y="931164"/>
                  </a:lnTo>
                  <a:lnTo>
                    <a:pt x="4777645" y="931164"/>
                  </a:lnTo>
                  <a:lnTo>
                    <a:pt x="4777645" y="1255205"/>
                  </a:lnTo>
                  <a:close/>
                  <a:moveTo>
                    <a:pt x="4777645" y="769144"/>
                  </a:moveTo>
                  <a:lnTo>
                    <a:pt x="4291680" y="769144"/>
                  </a:lnTo>
                  <a:lnTo>
                    <a:pt x="4291680" y="445198"/>
                  </a:lnTo>
                  <a:lnTo>
                    <a:pt x="4777645" y="445198"/>
                  </a:lnTo>
                  <a:lnTo>
                    <a:pt x="4777645" y="769144"/>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46" name="Freihandform: Form 45">
              <a:extLst>
                <a:ext uri="{FF2B5EF4-FFF2-40B4-BE49-F238E27FC236}">
                  <a16:creationId xmlns:a16="http://schemas.microsoft.com/office/drawing/2014/main" id="{907F019D-AEA9-4151-8026-995E643EA1AA}"/>
                </a:ext>
              </a:extLst>
            </p:cNvPr>
            <p:cNvSpPr/>
            <p:nvPr/>
          </p:nvSpPr>
          <p:spPr>
            <a:xfrm>
              <a:off x="3384550" y="1285875"/>
              <a:ext cx="5419725" cy="638175"/>
            </a:xfrm>
            <a:custGeom>
              <a:avLst/>
              <a:gdLst>
                <a:gd name="connsiteX0" fmla="*/ 0 w 5419725"/>
                <a:gd name="connsiteY0" fmla="*/ 0 h 638175"/>
                <a:gd name="connsiteX1" fmla="*/ 5426107 w 5419725"/>
                <a:gd name="connsiteY1" fmla="*/ 0 h 638175"/>
                <a:gd name="connsiteX2" fmla="*/ 5426107 w 5419725"/>
                <a:gd name="connsiteY2" fmla="*/ 644366 h 638175"/>
                <a:gd name="connsiteX3" fmla="*/ 0 w 5419725"/>
                <a:gd name="connsiteY3" fmla="*/ 644366 h 638175"/>
              </a:gdLst>
              <a:ahLst/>
              <a:cxnLst>
                <a:cxn ang="0">
                  <a:pos x="connsiteX0" y="connsiteY0"/>
                </a:cxn>
                <a:cxn ang="0">
                  <a:pos x="connsiteX1" y="connsiteY1"/>
                </a:cxn>
                <a:cxn ang="0">
                  <a:pos x="connsiteX2" y="connsiteY2"/>
                </a:cxn>
                <a:cxn ang="0">
                  <a:pos x="connsiteX3" y="connsiteY3"/>
                </a:cxn>
              </a:cxnLst>
              <a:rect l="l" t="t" r="r" b="b"/>
              <a:pathLst>
                <a:path w="5419725" h="638175">
                  <a:moveTo>
                    <a:pt x="0" y="0"/>
                  </a:moveTo>
                  <a:lnTo>
                    <a:pt x="5426107" y="0"/>
                  </a:lnTo>
                  <a:lnTo>
                    <a:pt x="5426107" y="644366"/>
                  </a:lnTo>
                  <a:lnTo>
                    <a:pt x="0" y="644366"/>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grpSp>
        <p:nvGrpSpPr>
          <p:cNvPr id="47" name="Grafik 31">
            <a:extLst>
              <a:ext uri="{FF2B5EF4-FFF2-40B4-BE49-F238E27FC236}">
                <a16:creationId xmlns:a16="http://schemas.microsoft.com/office/drawing/2014/main" id="{D4434B7A-39A4-4690-8FE1-77C3E3560809}"/>
              </a:ext>
            </a:extLst>
          </p:cNvPr>
          <p:cNvGrpSpPr/>
          <p:nvPr/>
        </p:nvGrpSpPr>
        <p:grpSpPr>
          <a:xfrm>
            <a:off x="3959877" y="4450082"/>
            <a:ext cx="324365" cy="313695"/>
            <a:chOff x="5375275" y="2724150"/>
            <a:chExt cx="1447800" cy="1400175"/>
          </a:xfrm>
          <a:solidFill>
            <a:srgbClr val="66667E"/>
          </a:solidFill>
        </p:grpSpPr>
        <p:sp>
          <p:nvSpPr>
            <p:cNvPr id="48" name="Freihandform: Form 47">
              <a:extLst>
                <a:ext uri="{FF2B5EF4-FFF2-40B4-BE49-F238E27FC236}">
                  <a16:creationId xmlns:a16="http://schemas.microsoft.com/office/drawing/2014/main" id="{861FF225-9DB3-48C6-B770-87283C6000B5}"/>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49" name="Freihandform: Form 48">
              <a:extLst>
                <a:ext uri="{FF2B5EF4-FFF2-40B4-BE49-F238E27FC236}">
                  <a16:creationId xmlns:a16="http://schemas.microsoft.com/office/drawing/2014/main" id="{51EE8599-957D-49EE-A122-460412F8B8D6}"/>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50" name="Freihandform: Form 49">
              <a:extLst>
                <a:ext uri="{FF2B5EF4-FFF2-40B4-BE49-F238E27FC236}">
                  <a16:creationId xmlns:a16="http://schemas.microsoft.com/office/drawing/2014/main" id="{637D5424-4C1F-417C-80CE-94FB5D38FBAC}"/>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51" name="Freihandform: Form 50">
              <a:extLst>
                <a:ext uri="{FF2B5EF4-FFF2-40B4-BE49-F238E27FC236}">
                  <a16:creationId xmlns:a16="http://schemas.microsoft.com/office/drawing/2014/main" id="{54F7D5DB-9721-44DD-9857-DA74332C94C7}"/>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52" name="Freihandform: Form 51">
              <a:extLst>
                <a:ext uri="{FF2B5EF4-FFF2-40B4-BE49-F238E27FC236}">
                  <a16:creationId xmlns:a16="http://schemas.microsoft.com/office/drawing/2014/main" id="{F33082A1-97E5-44E6-9892-5A4A3DBB98C9}"/>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sp>
        <p:nvSpPr>
          <p:cNvPr id="53" name="Rechteck 52">
            <a:extLst>
              <a:ext uri="{FF2B5EF4-FFF2-40B4-BE49-F238E27FC236}">
                <a16:creationId xmlns:a16="http://schemas.microsoft.com/office/drawing/2014/main" id="{2734A68C-A8CF-4073-9578-59F2364BAEEF}"/>
              </a:ext>
            </a:extLst>
          </p:cNvPr>
          <p:cNvSpPr/>
          <p:nvPr/>
        </p:nvSpPr>
        <p:spPr bwMode="auto">
          <a:xfrm>
            <a:off x="3300743"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4" name="Rechteck 53">
            <a:extLst>
              <a:ext uri="{FF2B5EF4-FFF2-40B4-BE49-F238E27FC236}">
                <a16:creationId xmlns:a16="http://schemas.microsoft.com/office/drawing/2014/main" id="{433EC7E0-5A78-43D8-A74C-5E43C40798A1}"/>
              </a:ext>
            </a:extLst>
          </p:cNvPr>
          <p:cNvSpPr/>
          <p:nvPr/>
        </p:nvSpPr>
        <p:spPr bwMode="auto">
          <a:xfrm>
            <a:off x="4308637"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5" name="Rechteck 54">
            <a:extLst>
              <a:ext uri="{FF2B5EF4-FFF2-40B4-BE49-F238E27FC236}">
                <a16:creationId xmlns:a16="http://schemas.microsoft.com/office/drawing/2014/main" id="{9428226A-7C89-4B58-B82A-09787A9E5ED8}"/>
              </a:ext>
            </a:extLst>
          </p:cNvPr>
          <p:cNvSpPr>
            <a:spLocks/>
          </p:cNvSpPr>
          <p:nvPr/>
        </p:nvSpPr>
        <p:spPr bwMode="auto">
          <a:xfrm>
            <a:off x="4683521" y="4149149"/>
            <a:ext cx="3346640" cy="1635818"/>
          </a:xfrm>
          <a:prstGeom prst="rect">
            <a:avLst/>
          </a:prstGeom>
          <a:noFill/>
          <a:ln w="12700" cap="rnd">
            <a:solidFill>
              <a:srgbClr val="3C464B"/>
            </a:solidFill>
            <a:prstDash val="solid"/>
            <a:round/>
            <a:headEnd/>
            <a:tailEnd/>
            <a:extLst>
              <a:ext uri="{C807C97D-BFC1-408E-A445-0C87EB9F89A2}">
                <ask:lineSketchStyleProps xmlns:ask="http://schemas.microsoft.com/office/drawing/2018/sketchyshapes" sd="4172447036">
                  <a:custGeom>
                    <a:avLst/>
                    <a:gdLst>
                      <a:gd name="connsiteX0" fmla="*/ 0 w 3312938"/>
                      <a:gd name="connsiteY0" fmla="*/ 0 h 1619344"/>
                      <a:gd name="connsiteX1" fmla="*/ 3312938 w 3312938"/>
                      <a:gd name="connsiteY1" fmla="*/ 0 h 1619344"/>
                      <a:gd name="connsiteX2" fmla="*/ 3312938 w 3312938"/>
                      <a:gd name="connsiteY2" fmla="*/ 1619344 h 1619344"/>
                      <a:gd name="connsiteX3" fmla="*/ 0 w 3312938"/>
                      <a:gd name="connsiteY3" fmla="*/ 1619344 h 1619344"/>
                      <a:gd name="connsiteX4" fmla="*/ 0 w 3312938"/>
                      <a:gd name="connsiteY4" fmla="*/ 0 h 1619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938" h="1619344" extrusionOk="0">
                        <a:moveTo>
                          <a:pt x="0" y="0"/>
                        </a:moveTo>
                        <a:cubicBezTo>
                          <a:pt x="1190993" y="-37904"/>
                          <a:pt x="1819406" y="-55183"/>
                          <a:pt x="3312938" y="0"/>
                        </a:cubicBezTo>
                        <a:cubicBezTo>
                          <a:pt x="3261268" y="471479"/>
                          <a:pt x="3419597" y="1411971"/>
                          <a:pt x="3312938" y="1619344"/>
                        </a:cubicBezTo>
                        <a:cubicBezTo>
                          <a:pt x="2543477" y="1673964"/>
                          <a:pt x="840916" y="1464996"/>
                          <a:pt x="0" y="1619344"/>
                        </a:cubicBezTo>
                        <a:cubicBezTo>
                          <a:pt x="138706" y="974903"/>
                          <a:pt x="129771" y="723042"/>
                          <a:pt x="0" y="0"/>
                        </a:cubicBezTo>
                        <a:close/>
                      </a:path>
                    </a:pathLst>
                  </a:custGeom>
                  <ask:type>
                    <ask:lineSketchNone/>
                  </ask:type>
                </ask:lineSketchStyleProps>
              </a:ext>
            </a:extLst>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57" name="Gruppieren 56">
            <a:extLst>
              <a:ext uri="{FF2B5EF4-FFF2-40B4-BE49-F238E27FC236}">
                <a16:creationId xmlns:a16="http://schemas.microsoft.com/office/drawing/2014/main" id="{10B82D38-8488-409C-BAC0-B3E62B858CB8}"/>
              </a:ext>
            </a:extLst>
          </p:cNvPr>
          <p:cNvGrpSpPr/>
          <p:nvPr/>
        </p:nvGrpSpPr>
        <p:grpSpPr>
          <a:xfrm>
            <a:off x="1791053" y="3669881"/>
            <a:ext cx="1853890" cy="479269"/>
            <a:chOff x="1977843" y="3645023"/>
            <a:chExt cx="1835220" cy="478172"/>
          </a:xfrm>
        </p:grpSpPr>
        <p:cxnSp>
          <p:nvCxnSpPr>
            <p:cNvPr id="58" name="Gerader Verbinder 57">
              <a:extLst>
                <a:ext uri="{FF2B5EF4-FFF2-40B4-BE49-F238E27FC236}">
                  <a16:creationId xmlns:a16="http://schemas.microsoft.com/office/drawing/2014/main" id="{87C2DAC9-E0C2-4660-B8F5-990D2CB3671B}"/>
                </a:ext>
              </a:extLst>
            </p:cNvPr>
            <p:cNvCxnSpPr/>
            <p:nvPr/>
          </p:nvCxnSpPr>
          <p:spPr bwMode="auto">
            <a:xfrm flipH="1">
              <a:off x="1977843" y="3645023"/>
              <a:ext cx="915636" cy="478172"/>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r Verbinder 58">
              <a:extLst>
                <a:ext uri="{FF2B5EF4-FFF2-40B4-BE49-F238E27FC236}">
                  <a16:creationId xmlns:a16="http://schemas.microsoft.com/office/drawing/2014/main" id="{1BFB1FEB-F627-4CA3-9E6A-A5967BFC5304}"/>
                </a:ext>
              </a:extLst>
            </p:cNvPr>
            <p:cNvCxnSpPr/>
            <p:nvPr/>
          </p:nvCxnSpPr>
          <p:spPr bwMode="auto">
            <a:xfrm>
              <a:off x="2897427" y="3645023"/>
              <a:ext cx="915636" cy="478172"/>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0" name="Rechteck 59">
            <a:extLst>
              <a:ext uri="{FF2B5EF4-FFF2-40B4-BE49-F238E27FC236}">
                <a16:creationId xmlns:a16="http://schemas.microsoft.com/office/drawing/2014/main" id="{3E5C713C-47D7-4612-9664-BF188ACFD20D}"/>
              </a:ext>
            </a:extLst>
          </p:cNvPr>
          <p:cNvSpPr/>
          <p:nvPr/>
        </p:nvSpPr>
        <p:spPr bwMode="auto">
          <a:xfrm>
            <a:off x="6540534" y="4779195"/>
            <a:ext cx="953505" cy="656534"/>
          </a:xfrm>
          <a:prstGeom prst="rect">
            <a:avLst/>
          </a:prstGeom>
          <a:solidFill>
            <a:schemeClr val="bg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1" name="Rechteck 60">
            <a:extLst>
              <a:ext uri="{FF2B5EF4-FFF2-40B4-BE49-F238E27FC236}">
                <a16:creationId xmlns:a16="http://schemas.microsoft.com/office/drawing/2014/main" id="{1C3769A6-81A6-4974-8E96-01A4E4CB8FB1}"/>
              </a:ext>
            </a:extLst>
          </p:cNvPr>
          <p:cNvSpPr>
            <a:spLocks/>
          </p:cNvSpPr>
          <p:nvPr/>
        </p:nvSpPr>
        <p:spPr bwMode="auto">
          <a:xfrm>
            <a:off x="5306300" y="5130666"/>
            <a:ext cx="407403" cy="402621"/>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2" name="Grafik 24">
            <a:extLst>
              <a:ext uri="{FF2B5EF4-FFF2-40B4-BE49-F238E27FC236}">
                <a16:creationId xmlns:a16="http://schemas.microsoft.com/office/drawing/2014/main" id="{D34E05D2-4EEA-4DA2-AF67-7FA3FF00A656}"/>
              </a:ext>
            </a:extLst>
          </p:cNvPr>
          <p:cNvSpPr/>
          <p:nvPr/>
        </p:nvSpPr>
        <p:spPr>
          <a:xfrm>
            <a:off x="4971621" y="4728026"/>
            <a:ext cx="669356" cy="402621"/>
          </a:xfrm>
          <a:custGeom>
            <a:avLst/>
            <a:gdLst>
              <a:gd name="connsiteX0" fmla="*/ 662068 w 662616"/>
              <a:gd name="connsiteY0" fmla="*/ 85910 h 398566"/>
              <a:gd name="connsiteX1" fmla="*/ 662093 w 662616"/>
              <a:gd name="connsiteY1" fmla="*/ 85810 h 398566"/>
              <a:gd name="connsiteX2" fmla="*/ 662192 w 662616"/>
              <a:gd name="connsiteY2" fmla="*/ 85387 h 398566"/>
              <a:gd name="connsiteX3" fmla="*/ 662192 w 662616"/>
              <a:gd name="connsiteY3" fmla="*/ 85387 h 398566"/>
              <a:gd name="connsiteX4" fmla="*/ 661022 w 662616"/>
              <a:gd name="connsiteY4" fmla="*/ 51160 h 398566"/>
              <a:gd name="connsiteX5" fmla="*/ 573686 w 662616"/>
              <a:gd name="connsiteY5" fmla="*/ 2759 h 398566"/>
              <a:gd name="connsiteX6" fmla="*/ 207130 w 662616"/>
              <a:gd name="connsiteY6" fmla="*/ 107881 h 398566"/>
              <a:gd name="connsiteX7" fmla="*/ 166077 w 662616"/>
              <a:gd name="connsiteY7" fmla="*/ 139417 h 398566"/>
              <a:gd name="connsiteX8" fmla="*/ 63272 w 662616"/>
              <a:gd name="connsiteY8" fmla="*/ 105265 h 398566"/>
              <a:gd name="connsiteX9" fmla="*/ 2865 w 662616"/>
              <a:gd name="connsiteY9" fmla="*/ 185078 h 398566"/>
              <a:gd name="connsiteX10" fmla="*/ 5605 w 662616"/>
              <a:gd name="connsiteY10" fmla="*/ 204857 h 398566"/>
              <a:gd name="connsiteX11" fmla="*/ 25384 w 662616"/>
              <a:gd name="connsiteY11" fmla="*/ 202117 h 398566"/>
              <a:gd name="connsiteX12" fmla="*/ 73585 w 662616"/>
              <a:gd name="connsiteY12" fmla="*/ 138446 h 398566"/>
              <a:gd name="connsiteX13" fmla="*/ 103901 w 662616"/>
              <a:gd name="connsiteY13" fmla="*/ 148510 h 398566"/>
              <a:gd name="connsiteX14" fmla="*/ 139025 w 662616"/>
              <a:gd name="connsiteY14" fmla="*/ 261976 h 398566"/>
              <a:gd name="connsiteX15" fmla="*/ 118997 w 662616"/>
              <a:gd name="connsiteY15" fmla="*/ 288431 h 398566"/>
              <a:gd name="connsiteX16" fmla="*/ 43219 w 662616"/>
              <a:gd name="connsiteY16" fmla="*/ 263272 h 398566"/>
              <a:gd name="connsiteX17" fmla="*/ 25359 w 662616"/>
              <a:gd name="connsiteY17" fmla="*/ 272215 h 398566"/>
              <a:gd name="connsiteX18" fmla="*/ 34302 w 662616"/>
              <a:gd name="connsiteY18" fmla="*/ 290075 h 398566"/>
              <a:gd name="connsiteX19" fmla="*/ 129310 w 662616"/>
              <a:gd name="connsiteY19" fmla="*/ 321612 h 398566"/>
              <a:gd name="connsiteX20" fmla="*/ 129459 w 662616"/>
              <a:gd name="connsiteY20" fmla="*/ 321438 h 398566"/>
              <a:gd name="connsiteX21" fmla="*/ 169864 w 662616"/>
              <a:gd name="connsiteY21" fmla="*/ 268030 h 398566"/>
              <a:gd name="connsiteX22" fmla="*/ 192806 w 662616"/>
              <a:gd name="connsiteY22" fmla="*/ 237739 h 398566"/>
              <a:gd name="connsiteX23" fmla="*/ 246065 w 662616"/>
              <a:gd name="connsiteY23" fmla="*/ 243618 h 398566"/>
              <a:gd name="connsiteX24" fmla="*/ 499652 w 662616"/>
              <a:gd name="connsiteY24" fmla="*/ 170904 h 398566"/>
              <a:gd name="connsiteX25" fmla="*/ 451177 w 662616"/>
              <a:gd name="connsiteY25" fmla="*/ 398959 h 398566"/>
              <a:gd name="connsiteX26" fmla="*/ 595557 w 662616"/>
              <a:gd name="connsiteY26" fmla="*/ 398959 h 398566"/>
              <a:gd name="connsiteX27" fmla="*/ 662068 w 662616"/>
              <a:gd name="connsiteY27" fmla="*/ 85910 h 398566"/>
              <a:gd name="connsiteX28" fmla="*/ 238268 w 662616"/>
              <a:gd name="connsiteY28" fmla="*/ 216465 h 398566"/>
              <a:gd name="connsiteX29" fmla="*/ 185856 w 662616"/>
              <a:gd name="connsiteY29" fmla="*/ 187420 h 398566"/>
              <a:gd name="connsiteX30" fmla="*/ 214902 w 662616"/>
              <a:gd name="connsiteY30" fmla="*/ 135008 h 398566"/>
              <a:gd name="connsiteX31" fmla="*/ 267313 w 662616"/>
              <a:gd name="connsiteY31" fmla="*/ 164054 h 398566"/>
              <a:gd name="connsiteX32" fmla="*/ 238268 w 662616"/>
              <a:gd name="connsiteY32" fmla="*/ 216465 h 398566"/>
              <a:gd name="connsiteX33" fmla="*/ 552388 w 662616"/>
              <a:gd name="connsiteY33" fmla="*/ 82323 h 398566"/>
              <a:gd name="connsiteX34" fmla="*/ 581433 w 662616"/>
              <a:gd name="connsiteY34" fmla="*/ 29911 h 398566"/>
              <a:gd name="connsiteX35" fmla="*/ 633844 w 662616"/>
              <a:gd name="connsiteY35" fmla="*/ 58957 h 398566"/>
              <a:gd name="connsiteX36" fmla="*/ 604799 w 662616"/>
              <a:gd name="connsiteY36" fmla="*/ 111368 h 398566"/>
              <a:gd name="connsiteX37" fmla="*/ 552388 w 662616"/>
              <a:gd name="connsiteY37" fmla="*/ 82323 h 39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2616" h="398566">
                <a:moveTo>
                  <a:pt x="662068" y="85910"/>
                </a:moveTo>
                <a:cubicBezTo>
                  <a:pt x="662068" y="85885"/>
                  <a:pt x="662093" y="85835"/>
                  <a:pt x="662093" y="85810"/>
                </a:cubicBezTo>
                <a:lnTo>
                  <a:pt x="662192" y="85387"/>
                </a:lnTo>
                <a:lnTo>
                  <a:pt x="662192" y="85387"/>
                </a:lnTo>
                <a:cubicBezTo>
                  <a:pt x="664559" y="74401"/>
                  <a:pt x="664335" y="62718"/>
                  <a:pt x="661022" y="51160"/>
                </a:cubicBezTo>
                <a:cubicBezTo>
                  <a:pt x="650260" y="13670"/>
                  <a:pt x="611176" y="-8002"/>
                  <a:pt x="573686" y="2759"/>
                </a:cubicBezTo>
                <a:lnTo>
                  <a:pt x="207130" y="107881"/>
                </a:lnTo>
                <a:cubicBezTo>
                  <a:pt x="189219" y="113012"/>
                  <a:pt x="174946" y="124621"/>
                  <a:pt x="166077" y="139417"/>
                </a:cubicBezTo>
                <a:lnTo>
                  <a:pt x="63272" y="105265"/>
                </a:lnTo>
                <a:lnTo>
                  <a:pt x="2865" y="185078"/>
                </a:lnTo>
                <a:cubicBezTo>
                  <a:pt x="-1843" y="191306"/>
                  <a:pt x="-623" y="200149"/>
                  <a:pt x="5605" y="204857"/>
                </a:cubicBezTo>
                <a:cubicBezTo>
                  <a:pt x="11832" y="209565"/>
                  <a:pt x="20676" y="208344"/>
                  <a:pt x="25384" y="202117"/>
                </a:cubicBezTo>
                <a:lnTo>
                  <a:pt x="73585" y="138446"/>
                </a:lnTo>
                <a:lnTo>
                  <a:pt x="103901" y="148510"/>
                </a:lnTo>
                <a:lnTo>
                  <a:pt x="139025" y="261976"/>
                </a:lnTo>
                <a:lnTo>
                  <a:pt x="118997" y="288431"/>
                </a:lnTo>
                <a:lnTo>
                  <a:pt x="43219" y="263272"/>
                </a:lnTo>
                <a:cubicBezTo>
                  <a:pt x="35821" y="260806"/>
                  <a:pt x="27825" y="264816"/>
                  <a:pt x="25359" y="272215"/>
                </a:cubicBezTo>
                <a:cubicBezTo>
                  <a:pt x="22893" y="279613"/>
                  <a:pt x="26903" y="287609"/>
                  <a:pt x="34302" y="290075"/>
                </a:cubicBezTo>
                <a:lnTo>
                  <a:pt x="129310" y="321612"/>
                </a:lnTo>
                <a:cubicBezTo>
                  <a:pt x="129310" y="321612"/>
                  <a:pt x="129360" y="321537"/>
                  <a:pt x="129459" y="321438"/>
                </a:cubicBezTo>
                <a:lnTo>
                  <a:pt x="169864" y="268030"/>
                </a:lnTo>
                <a:cubicBezTo>
                  <a:pt x="177835" y="257493"/>
                  <a:pt x="185881" y="246856"/>
                  <a:pt x="192806" y="237739"/>
                </a:cubicBezTo>
                <a:cubicBezTo>
                  <a:pt x="208525" y="246308"/>
                  <a:pt x="227481" y="248948"/>
                  <a:pt x="246065" y="243618"/>
                </a:cubicBezTo>
                <a:lnTo>
                  <a:pt x="499652" y="170904"/>
                </a:lnTo>
                <a:lnTo>
                  <a:pt x="451177" y="398959"/>
                </a:lnTo>
                <a:lnTo>
                  <a:pt x="595557" y="398959"/>
                </a:lnTo>
                <a:lnTo>
                  <a:pt x="662068" y="85910"/>
                </a:lnTo>
                <a:close/>
                <a:moveTo>
                  <a:pt x="238268" y="216465"/>
                </a:moveTo>
                <a:cubicBezTo>
                  <a:pt x="215774" y="222917"/>
                  <a:pt x="192308" y="209914"/>
                  <a:pt x="185856" y="187420"/>
                </a:cubicBezTo>
                <a:cubicBezTo>
                  <a:pt x="179404" y="164926"/>
                  <a:pt x="192408" y="141460"/>
                  <a:pt x="214902" y="135008"/>
                </a:cubicBezTo>
                <a:cubicBezTo>
                  <a:pt x="237396" y="128556"/>
                  <a:pt x="260861" y="141560"/>
                  <a:pt x="267313" y="164054"/>
                </a:cubicBezTo>
                <a:cubicBezTo>
                  <a:pt x="273765" y="186573"/>
                  <a:pt x="260762" y="210038"/>
                  <a:pt x="238268" y="216465"/>
                </a:cubicBezTo>
                <a:close/>
                <a:moveTo>
                  <a:pt x="552388" y="82323"/>
                </a:moveTo>
                <a:cubicBezTo>
                  <a:pt x="545936" y="59829"/>
                  <a:pt x="558939" y="36363"/>
                  <a:pt x="581433" y="29911"/>
                </a:cubicBezTo>
                <a:cubicBezTo>
                  <a:pt x="603927" y="23460"/>
                  <a:pt x="627393" y="36463"/>
                  <a:pt x="633844" y="58957"/>
                </a:cubicBezTo>
                <a:cubicBezTo>
                  <a:pt x="640296" y="81451"/>
                  <a:pt x="627293" y="104917"/>
                  <a:pt x="604799" y="111368"/>
                </a:cubicBezTo>
                <a:cubicBezTo>
                  <a:pt x="582305" y="117820"/>
                  <a:pt x="558839" y="104817"/>
                  <a:pt x="552388" y="82323"/>
                </a:cubicBezTo>
                <a:close/>
              </a:path>
            </a:pathLst>
          </a:custGeom>
          <a:solidFill>
            <a:srgbClr val="66667E"/>
          </a:solidFill>
          <a:ln w="2471" cap="flat">
            <a:noFill/>
            <a:prstDash val="solid"/>
            <a:miter/>
          </a:ln>
        </p:spPr>
        <p:txBody>
          <a:bodyPr rtlCol="0" anchor="ctr"/>
          <a:lstStyle/>
          <a:p>
            <a:endParaRPr lang="en-US" sz="1798" dirty="0">
              <a:solidFill>
                <a:srgbClr val="000000"/>
              </a:solidFill>
              <a:latin typeface="Arial"/>
            </a:endParaRPr>
          </a:p>
        </p:txBody>
      </p:sp>
      <p:sp>
        <p:nvSpPr>
          <p:cNvPr id="63" name="Rechteck 62">
            <a:extLst>
              <a:ext uri="{FF2B5EF4-FFF2-40B4-BE49-F238E27FC236}">
                <a16:creationId xmlns:a16="http://schemas.microsoft.com/office/drawing/2014/main" id="{2D0F2ED2-904F-44AA-AD3C-AE6FA1FF6667}"/>
              </a:ext>
            </a:extLst>
          </p:cNvPr>
          <p:cNvSpPr>
            <a:spLocks/>
          </p:cNvSpPr>
          <p:nvPr/>
        </p:nvSpPr>
        <p:spPr bwMode="auto">
          <a:xfrm>
            <a:off x="5270697" y="5435728"/>
            <a:ext cx="478610" cy="97557"/>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64" name="Grafik 31">
            <a:extLst>
              <a:ext uri="{FF2B5EF4-FFF2-40B4-BE49-F238E27FC236}">
                <a16:creationId xmlns:a16="http://schemas.microsoft.com/office/drawing/2014/main" id="{2628EFE5-E402-4F0E-B8D3-F5F22924491F}"/>
              </a:ext>
            </a:extLst>
          </p:cNvPr>
          <p:cNvGrpSpPr/>
          <p:nvPr/>
        </p:nvGrpSpPr>
        <p:grpSpPr>
          <a:xfrm>
            <a:off x="5403691" y="4450082"/>
            <a:ext cx="324365" cy="313695"/>
            <a:chOff x="5375275" y="2724150"/>
            <a:chExt cx="1447800" cy="1400175"/>
          </a:xfrm>
          <a:solidFill>
            <a:srgbClr val="66667E"/>
          </a:solidFill>
        </p:grpSpPr>
        <p:sp>
          <p:nvSpPr>
            <p:cNvPr id="65" name="Freihandform: Form 64">
              <a:extLst>
                <a:ext uri="{FF2B5EF4-FFF2-40B4-BE49-F238E27FC236}">
                  <a16:creationId xmlns:a16="http://schemas.microsoft.com/office/drawing/2014/main" id="{2C06B52B-8016-4B16-8EB9-6857ECCD97B1}"/>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66" name="Freihandform: Form 65">
              <a:extLst>
                <a:ext uri="{FF2B5EF4-FFF2-40B4-BE49-F238E27FC236}">
                  <a16:creationId xmlns:a16="http://schemas.microsoft.com/office/drawing/2014/main" id="{CCDF913C-5FD8-4657-B88B-77DF369E84CD}"/>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67" name="Freihandform: Form 66">
              <a:extLst>
                <a:ext uri="{FF2B5EF4-FFF2-40B4-BE49-F238E27FC236}">
                  <a16:creationId xmlns:a16="http://schemas.microsoft.com/office/drawing/2014/main" id="{E635EB1C-0EB7-4F4E-BF49-2910B4B6CEBA}"/>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68" name="Freihandform: Form 67">
              <a:extLst>
                <a:ext uri="{FF2B5EF4-FFF2-40B4-BE49-F238E27FC236}">
                  <a16:creationId xmlns:a16="http://schemas.microsoft.com/office/drawing/2014/main" id="{CED5BE4A-F9D7-47F0-A782-2F300D08F1FA}"/>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69" name="Freihandform: Form 68">
              <a:extLst>
                <a:ext uri="{FF2B5EF4-FFF2-40B4-BE49-F238E27FC236}">
                  <a16:creationId xmlns:a16="http://schemas.microsoft.com/office/drawing/2014/main" id="{510D4247-B506-491F-B906-69185742B114}"/>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grpSp>
        <p:nvGrpSpPr>
          <p:cNvPr id="70" name="Grafik 51">
            <a:extLst>
              <a:ext uri="{FF2B5EF4-FFF2-40B4-BE49-F238E27FC236}">
                <a16:creationId xmlns:a16="http://schemas.microsoft.com/office/drawing/2014/main" id="{8ECEF69A-3E5F-48D4-8B83-DC2560A14F13}"/>
              </a:ext>
            </a:extLst>
          </p:cNvPr>
          <p:cNvGrpSpPr>
            <a:grpSpLocks/>
          </p:cNvGrpSpPr>
          <p:nvPr/>
        </p:nvGrpSpPr>
        <p:grpSpPr>
          <a:xfrm>
            <a:off x="6540535" y="4779195"/>
            <a:ext cx="955182" cy="754089"/>
            <a:chOff x="3384550" y="1285875"/>
            <a:chExt cx="5429250" cy="4286250"/>
          </a:xfrm>
          <a:solidFill>
            <a:srgbClr val="66667E"/>
          </a:solidFill>
        </p:grpSpPr>
        <p:sp>
          <p:nvSpPr>
            <p:cNvPr id="71" name="Freihandform: Form 70">
              <a:extLst>
                <a:ext uri="{FF2B5EF4-FFF2-40B4-BE49-F238E27FC236}">
                  <a16:creationId xmlns:a16="http://schemas.microsoft.com/office/drawing/2014/main" id="{3CA5698C-54AF-4AAA-A3C1-28AF6D73C19A}"/>
                </a:ext>
              </a:extLst>
            </p:cNvPr>
            <p:cNvSpPr/>
            <p:nvPr/>
          </p:nvSpPr>
          <p:spPr>
            <a:xfrm>
              <a:off x="3907663" y="2903411"/>
              <a:ext cx="1781175" cy="1019175"/>
            </a:xfrm>
            <a:custGeom>
              <a:avLst/>
              <a:gdLst>
                <a:gd name="connsiteX0" fmla="*/ 0 w 1781175"/>
                <a:gd name="connsiteY0" fmla="*/ 0 h 1019175"/>
                <a:gd name="connsiteX1" fmla="*/ 0 w 1781175"/>
                <a:gd name="connsiteY1" fmla="*/ 1025938 h 1019175"/>
                <a:gd name="connsiteX2" fmla="*/ 1782032 w 1781175"/>
                <a:gd name="connsiteY2" fmla="*/ 1025938 h 1019175"/>
                <a:gd name="connsiteX3" fmla="*/ 1782032 w 1781175"/>
                <a:gd name="connsiteY3" fmla="*/ 0 h 1019175"/>
                <a:gd name="connsiteX4" fmla="*/ 0 w 1781175"/>
                <a:gd name="connsiteY4" fmla="*/ 0 h 1019175"/>
                <a:gd name="connsiteX5" fmla="*/ 1674019 w 1781175"/>
                <a:gd name="connsiteY5" fmla="*/ 917924 h 1019175"/>
                <a:gd name="connsiteX6" fmla="*/ 108014 w 1781175"/>
                <a:gd name="connsiteY6" fmla="*/ 917924 h 1019175"/>
                <a:gd name="connsiteX7" fmla="*/ 108014 w 1781175"/>
                <a:gd name="connsiteY7" fmla="*/ 810006 h 1019175"/>
                <a:gd name="connsiteX8" fmla="*/ 1674019 w 1781175"/>
                <a:gd name="connsiteY8" fmla="*/ 810006 h 1019175"/>
                <a:gd name="connsiteX9" fmla="*/ 1674019 w 1781175"/>
                <a:gd name="connsiteY9" fmla="*/ 917924 h 1019175"/>
                <a:gd name="connsiteX10" fmla="*/ 1593056 w 1781175"/>
                <a:gd name="connsiteY10" fmla="*/ 323945 h 1019175"/>
                <a:gd name="connsiteX11" fmla="*/ 1532954 w 1781175"/>
                <a:gd name="connsiteY11" fmla="*/ 297180 h 1019175"/>
                <a:gd name="connsiteX12" fmla="*/ 1320451 w 1781175"/>
                <a:gd name="connsiteY12" fmla="*/ 350044 h 1019175"/>
                <a:gd name="connsiteX13" fmla="*/ 1241965 w 1781175"/>
                <a:gd name="connsiteY13" fmla="*/ 411289 h 1019175"/>
                <a:gd name="connsiteX14" fmla="*/ 1196245 w 1781175"/>
                <a:gd name="connsiteY14" fmla="*/ 397097 h 1019175"/>
                <a:gd name="connsiteX15" fmla="*/ 971931 w 1781175"/>
                <a:gd name="connsiteY15" fmla="*/ 513778 h 1019175"/>
                <a:gd name="connsiteX16" fmla="*/ 890969 w 1781175"/>
                <a:gd name="connsiteY16" fmla="*/ 593979 h 1019175"/>
                <a:gd name="connsiteX17" fmla="*/ 811530 w 1781175"/>
                <a:gd name="connsiteY17" fmla="*/ 528352 h 1019175"/>
                <a:gd name="connsiteX18" fmla="*/ 597122 w 1781175"/>
                <a:gd name="connsiteY18" fmla="*/ 462439 h 1019175"/>
                <a:gd name="connsiteX19" fmla="*/ 539972 w 1781175"/>
                <a:gd name="connsiteY19" fmla="*/ 485965 h 1019175"/>
                <a:gd name="connsiteX20" fmla="*/ 499205 w 1781175"/>
                <a:gd name="connsiteY20" fmla="*/ 474821 h 1019175"/>
                <a:gd name="connsiteX21" fmla="*/ 269748 w 1781175"/>
                <a:gd name="connsiteY21" fmla="*/ 615982 h 1019175"/>
                <a:gd name="connsiteX22" fmla="*/ 270034 w 1781175"/>
                <a:gd name="connsiteY22" fmla="*/ 620935 h 1019175"/>
                <a:gd name="connsiteX23" fmla="*/ 188976 w 1781175"/>
                <a:gd name="connsiteY23" fmla="*/ 701993 h 1019175"/>
                <a:gd name="connsiteX24" fmla="*/ 108014 w 1781175"/>
                <a:gd name="connsiteY24" fmla="*/ 620935 h 1019175"/>
                <a:gd name="connsiteX25" fmla="*/ 188976 w 1781175"/>
                <a:gd name="connsiteY25" fmla="*/ 539972 h 1019175"/>
                <a:gd name="connsiteX26" fmla="*/ 229838 w 1781175"/>
                <a:gd name="connsiteY26" fmla="*/ 551116 h 1019175"/>
                <a:gd name="connsiteX27" fmla="*/ 459296 w 1781175"/>
                <a:gd name="connsiteY27" fmla="*/ 409956 h 1019175"/>
                <a:gd name="connsiteX28" fmla="*/ 459010 w 1781175"/>
                <a:gd name="connsiteY28" fmla="*/ 405003 h 1019175"/>
                <a:gd name="connsiteX29" fmla="*/ 539972 w 1781175"/>
                <a:gd name="connsiteY29" fmla="*/ 323945 h 1019175"/>
                <a:gd name="connsiteX30" fmla="*/ 619506 w 1781175"/>
                <a:gd name="connsiteY30" fmla="*/ 389572 h 1019175"/>
                <a:gd name="connsiteX31" fmla="*/ 833914 w 1781175"/>
                <a:gd name="connsiteY31" fmla="*/ 455485 h 1019175"/>
                <a:gd name="connsiteX32" fmla="*/ 890969 w 1781175"/>
                <a:gd name="connsiteY32" fmla="*/ 431959 h 1019175"/>
                <a:gd name="connsiteX33" fmla="*/ 936784 w 1781175"/>
                <a:gd name="connsiteY33" fmla="*/ 446151 h 1019175"/>
                <a:gd name="connsiteX34" fmla="*/ 1161098 w 1781175"/>
                <a:gd name="connsiteY34" fmla="*/ 329470 h 1019175"/>
                <a:gd name="connsiteX35" fmla="*/ 1241965 w 1781175"/>
                <a:gd name="connsiteY35" fmla="*/ 249364 h 1019175"/>
                <a:gd name="connsiteX36" fmla="*/ 1302068 w 1781175"/>
                <a:gd name="connsiteY36" fmla="*/ 276130 h 1019175"/>
                <a:gd name="connsiteX37" fmla="*/ 1514570 w 1781175"/>
                <a:gd name="connsiteY37" fmla="*/ 223266 h 1019175"/>
                <a:gd name="connsiteX38" fmla="*/ 1593056 w 1781175"/>
                <a:gd name="connsiteY38" fmla="*/ 161925 h 1019175"/>
                <a:gd name="connsiteX39" fmla="*/ 1674019 w 1781175"/>
                <a:gd name="connsiteY39" fmla="*/ 242983 h 1019175"/>
                <a:gd name="connsiteX40" fmla="*/ 1593056 w 1781175"/>
                <a:gd name="connsiteY40" fmla="*/ 32394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81175" h="1019175">
                  <a:moveTo>
                    <a:pt x="0" y="0"/>
                  </a:moveTo>
                  <a:lnTo>
                    <a:pt x="0" y="1025938"/>
                  </a:lnTo>
                  <a:lnTo>
                    <a:pt x="1782032" y="1025938"/>
                  </a:lnTo>
                  <a:lnTo>
                    <a:pt x="1782032" y="0"/>
                  </a:lnTo>
                  <a:lnTo>
                    <a:pt x="0" y="0"/>
                  </a:lnTo>
                  <a:close/>
                  <a:moveTo>
                    <a:pt x="1674019" y="917924"/>
                  </a:moveTo>
                  <a:lnTo>
                    <a:pt x="108014" y="917924"/>
                  </a:lnTo>
                  <a:lnTo>
                    <a:pt x="108014" y="810006"/>
                  </a:lnTo>
                  <a:lnTo>
                    <a:pt x="1674019" y="810006"/>
                  </a:lnTo>
                  <a:lnTo>
                    <a:pt x="1674019" y="917924"/>
                  </a:lnTo>
                  <a:close/>
                  <a:moveTo>
                    <a:pt x="1593056" y="323945"/>
                  </a:moveTo>
                  <a:cubicBezTo>
                    <a:pt x="1569149" y="323945"/>
                    <a:pt x="1547813" y="313563"/>
                    <a:pt x="1532954" y="297180"/>
                  </a:cubicBezTo>
                  <a:lnTo>
                    <a:pt x="1320451" y="350044"/>
                  </a:lnTo>
                  <a:cubicBezTo>
                    <a:pt x="1311688" y="385286"/>
                    <a:pt x="1279970" y="411289"/>
                    <a:pt x="1241965" y="411289"/>
                  </a:cubicBezTo>
                  <a:cubicBezTo>
                    <a:pt x="1225010" y="411289"/>
                    <a:pt x="1209199" y="406051"/>
                    <a:pt x="1196245" y="397097"/>
                  </a:cubicBezTo>
                  <a:lnTo>
                    <a:pt x="971931" y="513778"/>
                  </a:lnTo>
                  <a:cubicBezTo>
                    <a:pt x="971550" y="558165"/>
                    <a:pt x="935450" y="593979"/>
                    <a:pt x="890969" y="593979"/>
                  </a:cubicBezTo>
                  <a:cubicBezTo>
                    <a:pt x="851535" y="593979"/>
                    <a:pt x="818674" y="565690"/>
                    <a:pt x="811530" y="528352"/>
                  </a:cubicBezTo>
                  <a:lnTo>
                    <a:pt x="597122" y="462439"/>
                  </a:lnTo>
                  <a:cubicBezTo>
                    <a:pt x="582454" y="476917"/>
                    <a:pt x="562261" y="485965"/>
                    <a:pt x="539972" y="485965"/>
                  </a:cubicBezTo>
                  <a:cubicBezTo>
                    <a:pt x="525113" y="485965"/>
                    <a:pt x="511207" y="481870"/>
                    <a:pt x="499205" y="474821"/>
                  </a:cubicBezTo>
                  <a:lnTo>
                    <a:pt x="269748" y="615982"/>
                  </a:lnTo>
                  <a:cubicBezTo>
                    <a:pt x="269843" y="617696"/>
                    <a:pt x="270034" y="619315"/>
                    <a:pt x="270034" y="620935"/>
                  </a:cubicBezTo>
                  <a:cubicBezTo>
                    <a:pt x="270034" y="665702"/>
                    <a:pt x="233744" y="701993"/>
                    <a:pt x="188976" y="701993"/>
                  </a:cubicBezTo>
                  <a:cubicBezTo>
                    <a:pt x="144304" y="701993"/>
                    <a:pt x="108014" y="665702"/>
                    <a:pt x="108014" y="620935"/>
                  </a:cubicBezTo>
                  <a:cubicBezTo>
                    <a:pt x="108014" y="576263"/>
                    <a:pt x="144304" y="539972"/>
                    <a:pt x="188976" y="539972"/>
                  </a:cubicBezTo>
                  <a:cubicBezTo>
                    <a:pt x="203930" y="539972"/>
                    <a:pt x="217837" y="544068"/>
                    <a:pt x="229838" y="551116"/>
                  </a:cubicBezTo>
                  <a:lnTo>
                    <a:pt x="459296" y="409956"/>
                  </a:lnTo>
                  <a:cubicBezTo>
                    <a:pt x="459200" y="408241"/>
                    <a:pt x="459010" y="406622"/>
                    <a:pt x="459010" y="405003"/>
                  </a:cubicBezTo>
                  <a:cubicBezTo>
                    <a:pt x="459010" y="360235"/>
                    <a:pt x="495300" y="323945"/>
                    <a:pt x="539972" y="323945"/>
                  </a:cubicBezTo>
                  <a:cubicBezTo>
                    <a:pt x="579501" y="323945"/>
                    <a:pt x="612267" y="352234"/>
                    <a:pt x="619506" y="389572"/>
                  </a:cubicBezTo>
                  <a:lnTo>
                    <a:pt x="833914" y="455485"/>
                  </a:lnTo>
                  <a:cubicBezTo>
                    <a:pt x="848582" y="441007"/>
                    <a:pt x="868680" y="431959"/>
                    <a:pt x="890969" y="431959"/>
                  </a:cubicBezTo>
                  <a:cubicBezTo>
                    <a:pt x="908018" y="431959"/>
                    <a:pt x="923734" y="437197"/>
                    <a:pt x="936784" y="446151"/>
                  </a:cubicBezTo>
                  <a:lnTo>
                    <a:pt x="1161098" y="329470"/>
                  </a:lnTo>
                  <a:cubicBezTo>
                    <a:pt x="1161479" y="285178"/>
                    <a:pt x="1197578" y="249364"/>
                    <a:pt x="1241965" y="249364"/>
                  </a:cubicBezTo>
                  <a:cubicBezTo>
                    <a:pt x="1265873" y="249364"/>
                    <a:pt x="1287209" y="259747"/>
                    <a:pt x="1302068" y="276130"/>
                  </a:cubicBezTo>
                  <a:lnTo>
                    <a:pt x="1514570" y="223266"/>
                  </a:lnTo>
                  <a:cubicBezTo>
                    <a:pt x="1523333" y="188023"/>
                    <a:pt x="1555052" y="161925"/>
                    <a:pt x="1593056" y="161925"/>
                  </a:cubicBezTo>
                  <a:cubicBezTo>
                    <a:pt x="1637729" y="161925"/>
                    <a:pt x="1674019" y="198215"/>
                    <a:pt x="1674019" y="242983"/>
                  </a:cubicBezTo>
                  <a:cubicBezTo>
                    <a:pt x="1674019" y="287655"/>
                    <a:pt x="1637729" y="323945"/>
                    <a:pt x="1593056" y="323945"/>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2" name="Freihandform: Form 71">
              <a:extLst>
                <a:ext uri="{FF2B5EF4-FFF2-40B4-BE49-F238E27FC236}">
                  <a16:creationId xmlns:a16="http://schemas.microsoft.com/office/drawing/2014/main" id="{92384EEF-72A2-45F7-9951-CD9CFA1E45B1}"/>
                </a:ext>
              </a:extLst>
            </p:cNvPr>
            <p:cNvSpPr/>
            <p:nvPr/>
          </p:nvSpPr>
          <p:spPr>
            <a:xfrm>
              <a:off x="3384550" y="2134267"/>
              <a:ext cx="5419725" cy="3438525"/>
            </a:xfrm>
            <a:custGeom>
              <a:avLst/>
              <a:gdLst>
                <a:gd name="connsiteX0" fmla="*/ 0 w 5419725"/>
                <a:gd name="connsiteY0" fmla="*/ 0 h 3438525"/>
                <a:gd name="connsiteX1" fmla="*/ 0 w 5419725"/>
                <a:gd name="connsiteY1" fmla="*/ 3442145 h 3438525"/>
                <a:gd name="connsiteX2" fmla="*/ 5426107 w 5419725"/>
                <a:gd name="connsiteY2" fmla="*/ 3442145 h 3438525"/>
                <a:gd name="connsiteX3" fmla="*/ 5426107 w 5419725"/>
                <a:gd name="connsiteY3" fmla="*/ 0 h 3438525"/>
                <a:gd name="connsiteX4" fmla="*/ 0 w 5419725"/>
                <a:gd name="connsiteY4" fmla="*/ 0 h 3438525"/>
                <a:gd name="connsiteX5" fmla="*/ 3643694 w 5419725"/>
                <a:gd name="connsiteY5" fmla="*/ 445198 h 3438525"/>
                <a:gd name="connsiteX6" fmla="*/ 4129659 w 5419725"/>
                <a:gd name="connsiteY6" fmla="*/ 445198 h 3438525"/>
                <a:gd name="connsiteX7" fmla="*/ 4129659 w 5419725"/>
                <a:gd name="connsiteY7" fmla="*/ 769144 h 3438525"/>
                <a:gd name="connsiteX8" fmla="*/ 3643694 w 5419725"/>
                <a:gd name="connsiteY8" fmla="*/ 769144 h 3438525"/>
                <a:gd name="connsiteX9" fmla="*/ 3643694 w 5419725"/>
                <a:gd name="connsiteY9" fmla="*/ 445198 h 3438525"/>
                <a:gd name="connsiteX10" fmla="*/ 3643694 w 5419725"/>
                <a:gd name="connsiteY10" fmla="*/ 931164 h 3438525"/>
                <a:gd name="connsiteX11" fmla="*/ 4129659 w 5419725"/>
                <a:gd name="connsiteY11" fmla="*/ 931164 h 3438525"/>
                <a:gd name="connsiteX12" fmla="*/ 4129659 w 5419725"/>
                <a:gd name="connsiteY12" fmla="*/ 1255205 h 3438525"/>
                <a:gd name="connsiteX13" fmla="*/ 3643694 w 5419725"/>
                <a:gd name="connsiteY13" fmla="*/ 1255205 h 3438525"/>
                <a:gd name="connsiteX14" fmla="*/ 3643694 w 5419725"/>
                <a:gd name="connsiteY14" fmla="*/ 931164 h 3438525"/>
                <a:gd name="connsiteX15" fmla="*/ 3643694 w 5419725"/>
                <a:gd name="connsiteY15" fmla="*/ 1417225 h 3438525"/>
                <a:gd name="connsiteX16" fmla="*/ 4129659 w 5419725"/>
                <a:gd name="connsiteY16" fmla="*/ 1417225 h 3438525"/>
                <a:gd name="connsiteX17" fmla="*/ 4129659 w 5419725"/>
                <a:gd name="connsiteY17" fmla="*/ 1741170 h 3438525"/>
                <a:gd name="connsiteX18" fmla="*/ 3643694 w 5419725"/>
                <a:gd name="connsiteY18" fmla="*/ 1741170 h 3438525"/>
                <a:gd name="connsiteX19" fmla="*/ 3643694 w 5419725"/>
                <a:gd name="connsiteY19" fmla="*/ 1417225 h 3438525"/>
                <a:gd name="connsiteX20" fmla="*/ 2995708 w 5419725"/>
                <a:gd name="connsiteY20" fmla="*/ 445198 h 3438525"/>
                <a:gd name="connsiteX21" fmla="*/ 3481673 w 5419725"/>
                <a:gd name="connsiteY21" fmla="*/ 445198 h 3438525"/>
                <a:gd name="connsiteX22" fmla="*/ 3481673 w 5419725"/>
                <a:gd name="connsiteY22" fmla="*/ 769144 h 3438525"/>
                <a:gd name="connsiteX23" fmla="*/ 2995708 w 5419725"/>
                <a:gd name="connsiteY23" fmla="*/ 769144 h 3438525"/>
                <a:gd name="connsiteX24" fmla="*/ 2995708 w 5419725"/>
                <a:gd name="connsiteY24" fmla="*/ 445198 h 3438525"/>
                <a:gd name="connsiteX25" fmla="*/ 2995708 w 5419725"/>
                <a:gd name="connsiteY25" fmla="*/ 931164 h 3438525"/>
                <a:gd name="connsiteX26" fmla="*/ 3481673 w 5419725"/>
                <a:gd name="connsiteY26" fmla="*/ 931164 h 3438525"/>
                <a:gd name="connsiteX27" fmla="*/ 3481673 w 5419725"/>
                <a:gd name="connsiteY27" fmla="*/ 1255205 h 3438525"/>
                <a:gd name="connsiteX28" fmla="*/ 2995708 w 5419725"/>
                <a:gd name="connsiteY28" fmla="*/ 1255205 h 3438525"/>
                <a:gd name="connsiteX29" fmla="*/ 2995708 w 5419725"/>
                <a:gd name="connsiteY29" fmla="*/ 931164 h 3438525"/>
                <a:gd name="connsiteX30" fmla="*/ 2995708 w 5419725"/>
                <a:gd name="connsiteY30" fmla="*/ 1417225 h 3438525"/>
                <a:gd name="connsiteX31" fmla="*/ 3481673 w 5419725"/>
                <a:gd name="connsiteY31" fmla="*/ 1417225 h 3438525"/>
                <a:gd name="connsiteX32" fmla="*/ 3481673 w 5419725"/>
                <a:gd name="connsiteY32" fmla="*/ 1741170 h 3438525"/>
                <a:gd name="connsiteX33" fmla="*/ 2995708 w 5419725"/>
                <a:gd name="connsiteY33" fmla="*/ 1741170 h 3438525"/>
                <a:gd name="connsiteX34" fmla="*/ 2995708 w 5419725"/>
                <a:gd name="connsiteY34" fmla="*/ 1417225 h 3438525"/>
                <a:gd name="connsiteX35" fmla="*/ 2413159 w 5419725"/>
                <a:gd name="connsiteY35" fmla="*/ 1903095 h 3438525"/>
                <a:gd name="connsiteX36" fmla="*/ 415100 w 5419725"/>
                <a:gd name="connsiteY36" fmla="*/ 1903095 h 3438525"/>
                <a:gd name="connsiteX37" fmla="*/ 415100 w 5419725"/>
                <a:gd name="connsiteY37" fmla="*/ 391097 h 3438525"/>
                <a:gd name="connsiteX38" fmla="*/ 2413159 w 5419725"/>
                <a:gd name="connsiteY38" fmla="*/ 391097 h 3438525"/>
                <a:gd name="connsiteX39" fmla="*/ 2413159 w 5419725"/>
                <a:gd name="connsiteY39" fmla="*/ 1903095 h 3438525"/>
                <a:gd name="connsiteX40" fmla="*/ 4777645 w 5419725"/>
                <a:gd name="connsiteY40" fmla="*/ 2053018 h 3438525"/>
                <a:gd name="connsiteX41" fmla="*/ 2995708 w 5419725"/>
                <a:gd name="connsiteY41" fmla="*/ 2053018 h 3438525"/>
                <a:gd name="connsiteX42" fmla="*/ 2995708 w 5419725"/>
                <a:gd name="connsiteY42" fmla="*/ 1955101 h 3438525"/>
                <a:gd name="connsiteX43" fmla="*/ 4777645 w 5419725"/>
                <a:gd name="connsiteY43" fmla="*/ 1955101 h 3438525"/>
                <a:gd name="connsiteX44" fmla="*/ 4777645 w 5419725"/>
                <a:gd name="connsiteY44" fmla="*/ 2053018 h 3438525"/>
                <a:gd name="connsiteX45" fmla="*/ 4777645 w 5419725"/>
                <a:gd name="connsiteY45" fmla="*/ 1741170 h 3438525"/>
                <a:gd name="connsiteX46" fmla="*/ 4291680 w 5419725"/>
                <a:gd name="connsiteY46" fmla="*/ 1741170 h 3438525"/>
                <a:gd name="connsiteX47" fmla="*/ 4291680 w 5419725"/>
                <a:gd name="connsiteY47" fmla="*/ 1417225 h 3438525"/>
                <a:gd name="connsiteX48" fmla="*/ 4777645 w 5419725"/>
                <a:gd name="connsiteY48" fmla="*/ 1417225 h 3438525"/>
                <a:gd name="connsiteX49" fmla="*/ 4777645 w 5419725"/>
                <a:gd name="connsiteY49" fmla="*/ 1741170 h 3438525"/>
                <a:gd name="connsiteX50" fmla="*/ 4777645 w 5419725"/>
                <a:gd name="connsiteY50" fmla="*/ 1255205 h 3438525"/>
                <a:gd name="connsiteX51" fmla="*/ 4291680 w 5419725"/>
                <a:gd name="connsiteY51" fmla="*/ 1255205 h 3438525"/>
                <a:gd name="connsiteX52" fmla="*/ 4291680 w 5419725"/>
                <a:gd name="connsiteY52" fmla="*/ 931164 h 3438525"/>
                <a:gd name="connsiteX53" fmla="*/ 4777645 w 5419725"/>
                <a:gd name="connsiteY53" fmla="*/ 931164 h 3438525"/>
                <a:gd name="connsiteX54" fmla="*/ 4777645 w 5419725"/>
                <a:gd name="connsiteY54" fmla="*/ 1255205 h 3438525"/>
                <a:gd name="connsiteX55" fmla="*/ 4777645 w 5419725"/>
                <a:gd name="connsiteY55" fmla="*/ 769144 h 3438525"/>
                <a:gd name="connsiteX56" fmla="*/ 4291680 w 5419725"/>
                <a:gd name="connsiteY56" fmla="*/ 769144 h 3438525"/>
                <a:gd name="connsiteX57" fmla="*/ 4291680 w 5419725"/>
                <a:gd name="connsiteY57" fmla="*/ 445198 h 3438525"/>
                <a:gd name="connsiteX58" fmla="*/ 4777645 w 5419725"/>
                <a:gd name="connsiteY58" fmla="*/ 445198 h 3438525"/>
                <a:gd name="connsiteX59" fmla="*/ 4777645 w 5419725"/>
                <a:gd name="connsiteY59" fmla="*/ 7691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419725" h="3438525">
                  <a:moveTo>
                    <a:pt x="0" y="0"/>
                  </a:moveTo>
                  <a:lnTo>
                    <a:pt x="0" y="3442145"/>
                  </a:lnTo>
                  <a:lnTo>
                    <a:pt x="5426107" y="3442145"/>
                  </a:lnTo>
                  <a:lnTo>
                    <a:pt x="5426107" y="0"/>
                  </a:lnTo>
                  <a:lnTo>
                    <a:pt x="0" y="0"/>
                  </a:lnTo>
                  <a:close/>
                  <a:moveTo>
                    <a:pt x="3643694" y="445198"/>
                  </a:moveTo>
                  <a:lnTo>
                    <a:pt x="4129659" y="445198"/>
                  </a:lnTo>
                  <a:lnTo>
                    <a:pt x="4129659" y="769144"/>
                  </a:lnTo>
                  <a:lnTo>
                    <a:pt x="3643694" y="769144"/>
                  </a:lnTo>
                  <a:lnTo>
                    <a:pt x="3643694" y="445198"/>
                  </a:lnTo>
                  <a:close/>
                  <a:moveTo>
                    <a:pt x="3643694" y="931164"/>
                  </a:moveTo>
                  <a:lnTo>
                    <a:pt x="4129659" y="931164"/>
                  </a:lnTo>
                  <a:lnTo>
                    <a:pt x="4129659" y="1255205"/>
                  </a:lnTo>
                  <a:lnTo>
                    <a:pt x="3643694" y="1255205"/>
                  </a:lnTo>
                  <a:lnTo>
                    <a:pt x="3643694" y="931164"/>
                  </a:lnTo>
                  <a:close/>
                  <a:moveTo>
                    <a:pt x="3643694" y="1417225"/>
                  </a:moveTo>
                  <a:lnTo>
                    <a:pt x="4129659" y="1417225"/>
                  </a:lnTo>
                  <a:lnTo>
                    <a:pt x="4129659" y="1741170"/>
                  </a:lnTo>
                  <a:lnTo>
                    <a:pt x="3643694" y="1741170"/>
                  </a:lnTo>
                  <a:lnTo>
                    <a:pt x="3643694" y="1417225"/>
                  </a:lnTo>
                  <a:close/>
                  <a:moveTo>
                    <a:pt x="2995708" y="445198"/>
                  </a:moveTo>
                  <a:lnTo>
                    <a:pt x="3481673" y="445198"/>
                  </a:lnTo>
                  <a:lnTo>
                    <a:pt x="3481673" y="769144"/>
                  </a:lnTo>
                  <a:lnTo>
                    <a:pt x="2995708" y="769144"/>
                  </a:lnTo>
                  <a:lnTo>
                    <a:pt x="2995708" y="445198"/>
                  </a:lnTo>
                  <a:close/>
                  <a:moveTo>
                    <a:pt x="2995708" y="931164"/>
                  </a:moveTo>
                  <a:lnTo>
                    <a:pt x="3481673" y="931164"/>
                  </a:lnTo>
                  <a:lnTo>
                    <a:pt x="3481673" y="1255205"/>
                  </a:lnTo>
                  <a:lnTo>
                    <a:pt x="2995708" y="1255205"/>
                  </a:lnTo>
                  <a:lnTo>
                    <a:pt x="2995708" y="931164"/>
                  </a:lnTo>
                  <a:close/>
                  <a:moveTo>
                    <a:pt x="2995708" y="1417225"/>
                  </a:moveTo>
                  <a:lnTo>
                    <a:pt x="3481673" y="1417225"/>
                  </a:lnTo>
                  <a:lnTo>
                    <a:pt x="3481673" y="1741170"/>
                  </a:lnTo>
                  <a:lnTo>
                    <a:pt x="2995708" y="1741170"/>
                  </a:lnTo>
                  <a:lnTo>
                    <a:pt x="2995708" y="1417225"/>
                  </a:lnTo>
                  <a:close/>
                  <a:moveTo>
                    <a:pt x="2413159" y="1903095"/>
                  </a:moveTo>
                  <a:lnTo>
                    <a:pt x="415100" y="1903095"/>
                  </a:lnTo>
                  <a:lnTo>
                    <a:pt x="415100" y="391097"/>
                  </a:lnTo>
                  <a:lnTo>
                    <a:pt x="2413159" y="391097"/>
                  </a:lnTo>
                  <a:lnTo>
                    <a:pt x="2413159" y="1903095"/>
                  </a:lnTo>
                  <a:close/>
                  <a:moveTo>
                    <a:pt x="4777645" y="2053018"/>
                  </a:moveTo>
                  <a:lnTo>
                    <a:pt x="2995708" y="2053018"/>
                  </a:lnTo>
                  <a:lnTo>
                    <a:pt x="2995708" y="1955101"/>
                  </a:lnTo>
                  <a:lnTo>
                    <a:pt x="4777645" y="1955101"/>
                  </a:lnTo>
                  <a:lnTo>
                    <a:pt x="4777645" y="2053018"/>
                  </a:lnTo>
                  <a:close/>
                  <a:moveTo>
                    <a:pt x="4777645" y="1741170"/>
                  </a:moveTo>
                  <a:lnTo>
                    <a:pt x="4291680" y="1741170"/>
                  </a:lnTo>
                  <a:lnTo>
                    <a:pt x="4291680" y="1417225"/>
                  </a:lnTo>
                  <a:lnTo>
                    <a:pt x="4777645" y="1417225"/>
                  </a:lnTo>
                  <a:lnTo>
                    <a:pt x="4777645" y="1741170"/>
                  </a:lnTo>
                  <a:close/>
                  <a:moveTo>
                    <a:pt x="4777645" y="1255205"/>
                  </a:moveTo>
                  <a:lnTo>
                    <a:pt x="4291680" y="1255205"/>
                  </a:lnTo>
                  <a:lnTo>
                    <a:pt x="4291680" y="931164"/>
                  </a:lnTo>
                  <a:lnTo>
                    <a:pt x="4777645" y="931164"/>
                  </a:lnTo>
                  <a:lnTo>
                    <a:pt x="4777645" y="1255205"/>
                  </a:lnTo>
                  <a:close/>
                  <a:moveTo>
                    <a:pt x="4777645" y="769144"/>
                  </a:moveTo>
                  <a:lnTo>
                    <a:pt x="4291680" y="769144"/>
                  </a:lnTo>
                  <a:lnTo>
                    <a:pt x="4291680" y="445198"/>
                  </a:lnTo>
                  <a:lnTo>
                    <a:pt x="4777645" y="445198"/>
                  </a:lnTo>
                  <a:lnTo>
                    <a:pt x="4777645" y="769144"/>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3" name="Freihandform: Form 72">
              <a:extLst>
                <a:ext uri="{FF2B5EF4-FFF2-40B4-BE49-F238E27FC236}">
                  <a16:creationId xmlns:a16="http://schemas.microsoft.com/office/drawing/2014/main" id="{30E093D3-3466-4FA7-9278-FE13E7656A2E}"/>
                </a:ext>
              </a:extLst>
            </p:cNvPr>
            <p:cNvSpPr/>
            <p:nvPr/>
          </p:nvSpPr>
          <p:spPr>
            <a:xfrm>
              <a:off x="3384550" y="1285875"/>
              <a:ext cx="5419725" cy="638175"/>
            </a:xfrm>
            <a:custGeom>
              <a:avLst/>
              <a:gdLst>
                <a:gd name="connsiteX0" fmla="*/ 0 w 5419725"/>
                <a:gd name="connsiteY0" fmla="*/ 0 h 638175"/>
                <a:gd name="connsiteX1" fmla="*/ 5426107 w 5419725"/>
                <a:gd name="connsiteY1" fmla="*/ 0 h 638175"/>
                <a:gd name="connsiteX2" fmla="*/ 5426107 w 5419725"/>
                <a:gd name="connsiteY2" fmla="*/ 644366 h 638175"/>
                <a:gd name="connsiteX3" fmla="*/ 0 w 5419725"/>
                <a:gd name="connsiteY3" fmla="*/ 644366 h 638175"/>
              </a:gdLst>
              <a:ahLst/>
              <a:cxnLst>
                <a:cxn ang="0">
                  <a:pos x="connsiteX0" y="connsiteY0"/>
                </a:cxn>
                <a:cxn ang="0">
                  <a:pos x="connsiteX1" y="connsiteY1"/>
                </a:cxn>
                <a:cxn ang="0">
                  <a:pos x="connsiteX2" y="connsiteY2"/>
                </a:cxn>
                <a:cxn ang="0">
                  <a:pos x="connsiteX3" y="connsiteY3"/>
                </a:cxn>
              </a:cxnLst>
              <a:rect l="l" t="t" r="r" b="b"/>
              <a:pathLst>
                <a:path w="5419725" h="638175">
                  <a:moveTo>
                    <a:pt x="0" y="0"/>
                  </a:moveTo>
                  <a:lnTo>
                    <a:pt x="5426107" y="0"/>
                  </a:lnTo>
                  <a:lnTo>
                    <a:pt x="5426107" y="644366"/>
                  </a:lnTo>
                  <a:lnTo>
                    <a:pt x="0" y="644366"/>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grpSp>
        <p:nvGrpSpPr>
          <p:cNvPr id="74" name="Grafik 31">
            <a:extLst>
              <a:ext uri="{FF2B5EF4-FFF2-40B4-BE49-F238E27FC236}">
                <a16:creationId xmlns:a16="http://schemas.microsoft.com/office/drawing/2014/main" id="{4180CD8F-00CD-458C-A87C-CB13A5C4084E}"/>
              </a:ext>
            </a:extLst>
          </p:cNvPr>
          <p:cNvGrpSpPr/>
          <p:nvPr/>
        </p:nvGrpSpPr>
        <p:grpSpPr>
          <a:xfrm>
            <a:off x="7140444" y="4450082"/>
            <a:ext cx="324365" cy="313695"/>
            <a:chOff x="5375275" y="2724150"/>
            <a:chExt cx="1447800" cy="1400175"/>
          </a:xfrm>
          <a:solidFill>
            <a:srgbClr val="66667E"/>
          </a:solidFill>
        </p:grpSpPr>
        <p:sp>
          <p:nvSpPr>
            <p:cNvPr id="75" name="Freihandform: Form 74">
              <a:extLst>
                <a:ext uri="{FF2B5EF4-FFF2-40B4-BE49-F238E27FC236}">
                  <a16:creationId xmlns:a16="http://schemas.microsoft.com/office/drawing/2014/main" id="{E31590DD-33ED-4134-9047-68F18D7211A1}"/>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6" name="Freihandform: Form 75">
              <a:extLst>
                <a:ext uri="{FF2B5EF4-FFF2-40B4-BE49-F238E27FC236}">
                  <a16:creationId xmlns:a16="http://schemas.microsoft.com/office/drawing/2014/main" id="{00548345-E7AF-4B8C-8331-ACA849F2E0F3}"/>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7" name="Freihandform: Form 76">
              <a:extLst>
                <a:ext uri="{FF2B5EF4-FFF2-40B4-BE49-F238E27FC236}">
                  <a16:creationId xmlns:a16="http://schemas.microsoft.com/office/drawing/2014/main" id="{6156B903-69C4-4373-AC24-F374DF946716}"/>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8" name="Freihandform: Form 77">
              <a:extLst>
                <a:ext uri="{FF2B5EF4-FFF2-40B4-BE49-F238E27FC236}">
                  <a16:creationId xmlns:a16="http://schemas.microsoft.com/office/drawing/2014/main" id="{7449F9FD-5FEF-403E-93B7-13BB34027C9A}"/>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79" name="Freihandform: Form 78">
              <a:extLst>
                <a:ext uri="{FF2B5EF4-FFF2-40B4-BE49-F238E27FC236}">
                  <a16:creationId xmlns:a16="http://schemas.microsoft.com/office/drawing/2014/main" id="{DBBF5A01-E9F0-4C01-A5A2-CF889E388E79}"/>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sp>
        <p:nvSpPr>
          <p:cNvPr id="80" name="Rechteck 79">
            <a:extLst>
              <a:ext uri="{FF2B5EF4-FFF2-40B4-BE49-F238E27FC236}">
                <a16:creationId xmlns:a16="http://schemas.microsoft.com/office/drawing/2014/main" id="{6220BA4F-984B-44DB-A109-FCCF836CFBAA}"/>
              </a:ext>
            </a:extLst>
          </p:cNvPr>
          <p:cNvSpPr/>
          <p:nvPr/>
        </p:nvSpPr>
        <p:spPr bwMode="auto">
          <a:xfrm>
            <a:off x="6481311"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1" name="Rechteck 80">
            <a:extLst>
              <a:ext uri="{FF2B5EF4-FFF2-40B4-BE49-F238E27FC236}">
                <a16:creationId xmlns:a16="http://schemas.microsoft.com/office/drawing/2014/main" id="{A229EA98-F3A6-4ACC-BB55-4075B01870A7}"/>
              </a:ext>
            </a:extLst>
          </p:cNvPr>
          <p:cNvSpPr/>
          <p:nvPr/>
        </p:nvSpPr>
        <p:spPr bwMode="auto">
          <a:xfrm>
            <a:off x="7489204"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2" name="Rechteck 81">
            <a:extLst>
              <a:ext uri="{FF2B5EF4-FFF2-40B4-BE49-F238E27FC236}">
                <a16:creationId xmlns:a16="http://schemas.microsoft.com/office/drawing/2014/main" id="{B185F08B-4D54-4AC9-BF6A-4C4A0AA4A814}"/>
              </a:ext>
            </a:extLst>
          </p:cNvPr>
          <p:cNvSpPr/>
          <p:nvPr/>
        </p:nvSpPr>
        <p:spPr bwMode="auto">
          <a:xfrm>
            <a:off x="10127854" y="4779195"/>
            <a:ext cx="953505" cy="656534"/>
          </a:xfrm>
          <a:prstGeom prst="rect">
            <a:avLst/>
          </a:prstGeom>
          <a:solidFill>
            <a:schemeClr val="bg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3" name="Rechteck 82">
            <a:extLst>
              <a:ext uri="{FF2B5EF4-FFF2-40B4-BE49-F238E27FC236}">
                <a16:creationId xmlns:a16="http://schemas.microsoft.com/office/drawing/2014/main" id="{ACDFEEC1-48E8-4687-813C-B31ED76FEC05}"/>
              </a:ext>
            </a:extLst>
          </p:cNvPr>
          <p:cNvSpPr>
            <a:spLocks/>
          </p:cNvSpPr>
          <p:nvPr/>
        </p:nvSpPr>
        <p:spPr bwMode="auto">
          <a:xfrm>
            <a:off x="8893620" y="5130666"/>
            <a:ext cx="407403" cy="402621"/>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4" name="Grafik 24">
            <a:extLst>
              <a:ext uri="{FF2B5EF4-FFF2-40B4-BE49-F238E27FC236}">
                <a16:creationId xmlns:a16="http://schemas.microsoft.com/office/drawing/2014/main" id="{DD4B04C7-3780-4EAC-91B0-AB27823219F9}"/>
              </a:ext>
            </a:extLst>
          </p:cNvPr>
          <p:cNvSpPr/>
          <p:nvPr/>
        </p:nvSpPr>
        <p:spPr>
          <a:xfrm>
            <a:off x="8558943" y="4728026"/>
            <a:ext cx="669356" cy="402621"/>
          </a:xfrm>
          <a:custGeom>
            <a:avLst/>
            <a:gdLst>
              <a:gd name="connsiteX0" fmla="*/ 662068 w 662616"/>
              <a:gd name="connsiteY0" fmla="*/ 85910 h 398566"/>
              <a:gd name="connsiteX1" fmla="*/ 662093 w 662616"/>
              <a:gd name="connsiteY1" fmla="*/ 85810 h 398566"/>
              <a:gd name="connsiteX2" fmla="*/ 662192 w 662616"/>
              <a:gd name="connsiteY2" fmla="*/ 85387 h 398566"/>
              <a:gd name="connsiteX3" fmla="*/ 662192 w 662616"/>
              <a:gd name="connsiteY3" fmla="*/ 85387 h 398566"/>
              <a:gd name="connsiteX4" fmla="*/ 661022 w 662616"/>
              <a:gd name="connsiteY4" fmla="*/ 51160 h 398566"/>
              <a:gd name="connsiteX5" fmla="*/ 573686 w 662616"/>
              <a:gd name="connsiteY5" fmla="*/ 2759 h 398566"/>
              <a:gd name="connsiteX6" fmla="*/ 207130 w 662616"/>
              <a:gd name="connsiteY6" fmla="*/ 107881 h 398566"/>
              <a:gd name="connsiteX7" fmla="*/ 166077 w 662616"/>
              <a:gd name="connsiteY7" fmla="*/ 139417 h 398566"/>
              <a:gd name="connsiteX8" fmla="*/ 63272 w 662616"/>
              <a:gd name="connsiteY8" fmla="*/ 105265 h 398566"/>
              <a:gd name="connsiteX9" fmla="*/ 2865 w 662616"/>
              <a:gd name="connsiteY9" fmla="*/ 185078 h 398566"/>
              <a:gd name="connsiteX10" fmla="*/ 5605 w 662616"/>
              <a:gd name="connsiteY10" fmla="*/ 204857 h 398566"/>
              <a:gd name="connsiteX11" fmla="*/ 25384 w 662616"/>
              <a:gd name="connsiteY11" fmla="*/ 202117 h 398566"/>
              <a:gd name="connsiteX12" fmla="*/ 73585 w 662616"/>
              <a:gd name="connsiteY12" fmla="*/ 138446 h 398566"/>
              <a:gd name="connsiteX13" fmla="*/ 103901 w 662616"/>
              <a:gd name="connsiteY13" fmla="*/ 148510 h 398566"/>
              <a:gd name="connsiteX14" fmla="*/ 139025 w 662616"/>
              <a:gd name="connsiteY14" fmla="*/ 261976 h 398566"/>
              <a:gd name="connsiteX15" fmla="*/ 118997 w 662616"/>
              <a:gd name="connsiteY15" fmla="*/ 288431 h 398566"/>
              <a:gd name="connsiteX16" fmla="*/ 43219 w 662616"/>
              <a:gd name="connsiteY16" fmla="*/ 263272 h 398566"/>
              <a:gd name="connsiteX17" fmla="*/ 25359 w 662616"/>
              <a:gd name="connsiteY17" fmla="*/ 272215 h 398566"/>
              <a:gd name="connsiteX18" fmla="*/ 34302 w 662616"/>
              <a:gd name="connsiteY18" fmla="*/ 290075 h 398566"/>
              <a:gd name="connsiteX19" fmla="*/ 129310 w 662616"/>
              <a:gd name="connsiteY19" fmla="*/ 321612 h 398566"/>
              <a:gd name="connsiteX20" fmla="*/ 129459 w 662616"/>
              <a:gd name="connsiteY20" fmla="*/ 321438 h 398566"/>
              <a:gd name="connsiteX21" fmla="*/ 169864 w 662616"/>
              <a:gd name="connsiteY21" fmla="*/ 268030 h 398566"/>
              <a:gd name="connsiteX22" fmla="*/ 192806 w 662616"/>
              <a:gd name="connsiteY22" fmla="*/ 237739 h 398566"/>
              <a:gd name="connsiteX23" fmla="*/ 246065 w 662616"/>
              <a:gd name="connsiteY23" fmla="*/ 243618 h 398566"/>
              <a:gd name="connsiteX24" fmla="*/ 499652 w 662616"/>
              <a:gd name="connsiteY24" fmla="*/ 170904 h 398566"/>
              <a:gd name="connsiteX25" fmla="*/ 451177 w 662616"/>
              <a:gd name="connsiteY25" fmla="*/ 398959 h 398566"/>
              <a:gd name="connsiteX26" fmla="*/ 595557 w 662616"/>
              <a:gd name="connsiteY26" fmla="*/ 398959 h 398566"/>
              <a:gd name="connsiteX27" fmla="*/ 662068 w 662616"/>
              <a:gd name="connsiteY27" fmla="*/ 85910 h 398566"/>
              <a:gd name="connsiteX28" fmla="*/ 238268 w 662616"/>
              <a:gd name="connsiteY28" fmla="*/ 216465 h 398566"/>
              <a:gd name="connsiteX29" fmla="*/ 185856 w 662616"/>
              <a:gd name="connsiteY29" fmla="*/ 187420 h 398566"/>
              <a:gd name="connsiteX30" fmla="*/ 214902 w 662616"/>
              <a:gd name="connsiteY30" fmla="*/ 135008 h 398566"/>
              <a:gd name="connsiteX31" fmla="*/ 267313 w 662616"/>
              <a:gd name="connsiteY31" fmla="*/ 164054 h 398566"/>
              <a:gd name="connsiteX32" fmla="*/ 238268 w 662616"/>
              <a:gd name="connsiteY32" fmla="*/ 216465 h 398566"/>
              <a:gd name="connsiteX33" fmla="*/ 552388 w 662616"/>
              <a:gd name="connsiteY33" fmla="*/ 82323 h 398566"/>
              <a:gd name="connsiteX34" fmla="*/ 581433 w 662616"/>
              <a:gd name="connsiteY34" fmla="*/ 29911 h 398566"/>
              <a:gd name="connsiteX35" fmla="*/ 633844 w 662616"/>
              <a:gd name="connsiteY35" fmla="*/ 58957 h 398566"/>
              <a:gd name="connsiteX36" fmla="*/ 604799 w 662616"/>
              <a:gd name="connsiteY36" fmla="*/ 111368 h 398566"/>
              <a:gd name="connsiteX37" fmla="*/ 552388 w 662616"/>
              <a:gd name="connsiteY37" fmla="*/ 82323 h 39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2616" h="398566">
                <a:moveTo>
                  <a:pt x="662068" y="85910"/>
                </a:moveTo>
                <a:cubicBezTo>
                  <a:pt x="662068" y="85885"/>
                  <a:pt x="662093" y="85835"/>
                  <a:pt x="662093" y="85810"/>
                </a:cubicBezTo>
                <a:lnTo>
                  <a:pt x="662192" y="85387"/>
                </a:lnTo>
                <a:lnTo>
                  <a:pt x="662192" y="85387"/>
                </a:lnTo>
                <a:cubicBezTo>
                  <a:pt x="664559" y="74401"/>
                  <a:pt x="664335" y="62718"/>
                  <a:pt x="661022" y="51160"/>
                </a:cubicBezTo>
                <a:cubicBezTo>
                  <a:pt x="650260" y="13670"/>
                  <a:pt x="611176" y="-8002"/>
                  <a:pt x="573686" y="2759"/>
                </a:cubicBezTo>
                <a:lnTo>
                  <a:pt x="207130" y="107881"/>
                </a:lnTo>
                <a:cubicBezTo>
                  <a:pt x="189219" y="113012"/>
                  <a:pt x="174946" y="124621"/>
                  <a:pt x="166077" y="139417"/>
                </a:cubicBezTo>
                <a:lnTo>
                  <a:pt x="63272" y="105265"/>
                </a:lnTo>
                <a:lnTo>
                  <a:pt x="2865" y="185078"/>
                </a:lnTo>
                <a:cubicBezTo>
                  <a:pt x="-1843" y="191306"/>
                  <a:pt x="-623" y="200149"/>
                  <a:pt x="5605" y="204857"/>
                </a:cubicBezTo>
                <a:cubicBezTo>
                  <a:pt x="11832" y="209565"/>
                  <a:pt x="20676" y="208344"/>
                  <a:pt x="25384" y="202117"/>
                </a:cubicBezTo>
                <a:lnTo>
                  <a:pt x="73585" y="138446"/>
                </a:lnTo>
                <a:lnTo>
                  <a:pt x="103901" y="148510"/>
                </a:lnTo>
                <a:lnTo>
                  <a:pt x="139025" y="261976"/>
                </a:lnTo>
                <a:lnTo>
                  <a:pt x="118997" y="288431"/>
                </a:lnTo>
                <a:lnTo>
                  <a:pt x="43219" y="263272"/>
                </a:lnTo>
                <a:cubicBezTo>
                  <a:pt x="35821" y="260806"/>
                  <a:pt x="27825" y="264816"/>
                  <a:pt x="25359" y="272215"/>
                </a:cubicBezTo>
                <a:cubicBezTo>
                  <a:pt x="22893" y="279613"/>
                  <a:pt x="26903" y="287609"/>
                  <a:pt x="34302" y="290075"/>
                </a:cubicBezTo>
                <a:lnTo>
                  <a:pt x="129310" y="321612"/>
                </a:lnTo>
                <a:cubicBezTo>
                  <a:pt x="129310" y="321612"/>
                  <a:pt x="129360" y="321537"/>
                  <a:pt x="129459" y="321438"/>
                </a:cubicBezTo>
                <a:lnTo>
                  <a:pt x="169864" y="268030"/>
                </a:lnTo>
                <a:cubicBezTo>
                  <a:pt x="177835" y="257493"/>
                  <a:pt x="185881" y="246856"/>
                  <a:pt x="192806" y="237739"/>
                </a:cubicBezTo>
                <a:cubicBezTo>
                  <a:pt x="208525" y="246308"/>
                  <a:pt x="227481" y="248948"/>
                  <a:pt x="246065" y="243618"/>
                </a:cubicBezTo>
                <a:lnTo>
                  <a:pt x="499652" y="170904"/>
                </a:lnTo>
                <a:lnTo>
                  <a:pt x="451177" y="398959"/>
                </a:lnTo>
                <a:lnTo>
                  <a:pt x="595557" y="398959"/>
                </a:lnTo>
                <a:lnTo>
                  <a:pt x="662068" y="85910"/>
                </a:lnTo>
                <a:close/>
                <a:moveTo>
                  <a:pt x="238268" y="216465"/>
                </a:moveTo>
                <a:cubicBezTo>
                  <a:pt x="215774" y="222917"/>
                  <a:pt x="192308" y="209914"/>
                  <a:pt x="185856" y="187420"/>
                </a:cubicBezTo>
                <a:cubicBezTo>
                  <a:pt x="179404" y="164926"/>
                  <a:pt x="192408" y="141460"/>
                  <a:pt x="214902" y="135008"/>
                </a:cubicBezTo>
                <a:cubicBezTo>
                  <a:pt x="237396" y="128556"/>
                  <a:pt x="260861" y="141560"/>
                  <a:pt x="267313" y="164054"/>
                </a:cubicBezTo>
                <a:cubicBezTo>
                  <a:pt x="273765" y="186573"/>
                  <a:pt x="260762" y="210038"/>
                  <a:pt x="238268" y="216465"/>
                </a:cubicBezTo>
                <a:close/>
                <a:moveTo>
                  <a:pt x="552388" y="82323"/>
                </a:moveTo>
                <a:cubicBezTo>
                  <a:pt x="545936" y="59829"/>
                  <a:pt x="558939" y="36363"/>
                  <a:pt x="581433" y="29911"/>
                </a:cubicBezTo>
                <a:cubicBezTo>
                  <a:pt x="603927" y="23460"/>
                  <a:pt x="627393" y="36463"/>
                  <a:pt x="633844" y="58957"/>
                </a:cubicBezTo>
                <a:cubicBezTo>
                  <a:pt x="640296" y="81451"/>
                  <a:pt x="627293" y="104917"/>
                  <a:pt x="604799" y="111368"/>
                </a:cubicBezTo>
                <a:cubicBezTo>
                  <a:pt x="582305" y="117820"/>
                  <a:pt x="558839" y="104817"/>
                  <a:pt x="552388" y="82323"/>
                </a:cubicBezTo>
                <a:close/>
              </a:path>
            </a:pathLst>
          </a:custGeom>
          <a:solidFill>
            <a:srgbClr val="66667E"/>
          </a:solidFill>
          <a:ln w="2471" cap="flat">
            <a:noFill/>
            <a:prstDash val="solid"/>
            <a:miter/>
          </a:ln>
        </p:spPr>
        <p:txBody>
          <a:bodyPr rtlCol="0" anchor="ctr"/>
          <a:lstStyle/>
          <a:p>
            <a:endParaRPr lang="en-US" sz="1798" dirty="0">
              <a:solidFill>
                <a:srgbClr val="000000"/>
              </a:solidFill>
              <a:latin typeface="Arial"/>
            </a:endParaRPr>
          </a:p>
        </p:txBody>
      </p:sp>
      <p:sp>
        <p:nvSpPr>
          <p:cNvPr id="85" name="Rechteck 84">
            <a:extLst>
              <a:ext uri="{FF2B5EF4-FFF2-40B4-BE49-F238E27FC236}">
                <a16:creationId xmlns:a16="http://schemas.microsoft.com/office/drawing/2014/main" id="{A504EB15-468C-4F65-B34D-1001154C90F8}"/>
              </a:ext>
            </a:extLst>
          </p:cNvPr>
          <p:cNvSpPr>
            <a:spLocks/>
          </p:cNvSpPr>
          <p:nvPr/>
        </p:nvSpPr>
        <p:spPr bwMode="auto">
          <a:xfrm>
            <a:off x="8858018" y="5435728"/>
            <a:ext cx="478610" cy="97557"/>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86" name="Grafik 31">
            <a:extLst>
              <a:ext uri="{FF2B5EF4-FFF2-40B4-BE49-F238E27FC236}">
                <a16:creationId xmlns:a16="http://schemas.microsoft.com/office/drawing/2014/main" id="{51984410-23B5-4C17-BF0E-4C661A3E5CDC}"/>
              </a:ext>
            </a:extLst>
          </p:cNvPr>
          <p:cNvGrpSpPr/>
          <p:nvPr/>
        </p:nvGrpSpPr>
        <p:grpSpPr>
          <a:xfrm>
            <a:off x="8991011" y="4450082"/>
            <a:ext cx="324365" cy="313695"/>
            <a:chOff x="5375275" y="2724150"/>
            <a:chExt cx="1447800" cy="1400175"/>
          </a:xfrm>
          <a:solidFill>
            <a:srgbClr val="66667E"/>
          </a:solidFill>
        </p:grpSpPr>
        <p:sp>
          <p:nvSpPr>
            <p:cNvPr id="87" name="Freihandform: Form 86">
              <a:extLst>
                <a:ext uri="{FF2B5EF4-FFF2-40B4-BE49-F238E27FC236}">
                  <a16:creationId xmlns:a16="http://schemas.microsoft.com/office/drawing/2014/main" id="{3256247B-57D8-4823-9AD5-CE565D28D9F9}"/>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88" name="Freihandform: Form 87">
              <a:extLst>
                <a:ext uri="{FF2B5EF4-FFF2-40B4-BE49-F238E27FC236}">
                  <a16:creationId xmlns:a16="http://schemas.microsoft.com/office/drawing/2014/main" id="{C0D03B86-02E0-47CD-817F-7E73E531D3BE}"/>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89" name="Freihandform: Form 88">
              <a:extLst>
                <a:ext uri="{FF2B5EF4-FFF2-40B4-BE49-F238E27FC236}">
                  <a16:creationId xmlns:a16="http://schemas.microsoft.com/office/drawing/2014/main" id="{1585D1E2-C329-4948-B2B9-A20C612FCD16}"/>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0" name="Freihandform: Form 89">
              <a:extLst>
                <a:ext uri="{FF2B5EF4-FFF2-40B4-BE49-F238E27FC236}">
                  <a16:creationId xmlns:a16="http://schemas.microsoft.com/office/drawing/2014/main" id="{6421DFFA-C14E-4DF9-8D05-7E3808D7B84D}"/>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1" name="Freihandform: Form 90">
              <a:extLst>
                <a:ext uri="{FF2B5EF4-FFF2-40B4-BE49-F238E27FC236}">
                  <a16:creationId xmlns:a16="http://schemas.microsoft.com/office/drawing/2014/main" id="{44DE6ED1-A775-47E4-B1A5-E345C80753D3}"/>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grpSp>
        <p:nvGrpSpPr>
          <p:cNvPr id="92" name="Grafik 51">
            <a:extLst>
              <a:ext uri="{FF2B5EF4-FFF2-40B4-BE49-F238E27FC236}">
                <a16:creationId xmlns:a16="http://schemas.microsoft.com/office/drawing/2014/main" id="{E2F4AC86-37BF-476B-B97A-D34E3AF0FFDA}"/>
              </a:ext>
            </a:extLst>
          </p:cNvPr>
          <p:cNvGrpSpPr>
            <a:grpSpLocks/>
          </p:cNvGrpSpPr>
          <p:nvPr/>
        </p:nvGrpSpPr>
        <p:grpSpPr>
          <a:xfrm>
            <a:off x="10127854" y="4779195"/>
            <a:ext cx="955182" cy="754089"/>
            <a:chOff x="3384550" y="1285875"/>
            <a:chExt cx="5429250" cy="4286250"/>
          </a:xfrm>
          <a:solidFill>
            <a:srgbClr val="66667E"/>
          </a:solidFill>
        </p:grpSpPr>
        <p:sp>
          <p:nvSpPr>
            <p:cNvPr id="93" name="Freihandform: Form 92">
              <a:extLst>
                <a:ext uri="{FF2B5EF4-FFF2-40B4-BE49-F238E27FC236}">
                  <a16:creationId xmlns:a16="http://schemas.microsoft.com/office/drawing/2014/main" id="{D1722367-422F-40EC-8955-C4E10C681905}"/>
                </a:ext>
              </a:extLst>
            </p:cNvPr>
            <p:cNvSpPr/>
            <p:nvPr/>
          </p:nvSpPr>
          <p:spPr>
            <a:xfrm>
              <a:off x="3907663" y="2903411"/>
              <a:ext cx="1781175" cy="1019175"/>
            </a:xfrm>
            <a:custGeom>
              <a:avLst/>
              <a:gdLst>
                <a:gd name="connsiteX0" fmla="*/ 0 w 1781175"/>
                <a:gd name="connsiteY0" fmla="*/ 0 h 1019175"/>
                <a:gd name="connsiteX1" fmla="*/ 0 w 1781175"/>
                <a:gd name="connsiteY1" fmla="*/ 1025938 h 1019175"/>
                <a:gd name="connsiteX2" fmla="*/ 1782032 w 1781175"/>
                <a:gd name="connsiteY2" fmla="*/ 1025938 h 1019175"/>
                <a:gd name="connsiteX3" fmla="*/ 1782032 w 1781175"/>
                <a:gd name="connsiteY3" fmla="*/ 0 h 1019175"/>
                <a:gd name="connsiteX4" fmla="*/ 0 w 1781175"/>
                <a:gd name="connsiteY4" fmla="*/ 0 h 1019175"/>
                <a:gd name="connsiteX5" fmla="*/ 1674019 w 1781175"/>
                <a:gd name="connsiteY5" fmla="*/ 917924 h 1019175"/>
                <a:gd name="connsiteX6" fmla="*/ 108014 w 1781175"/>
                <a:gd name="connsiteY6" fmla="*/ 917924 h 1019175"/>
                <a:gd name="connsiteX7" fmla="*/ 108014 w 1781175"/>
                <a:gd name="connsiteY7" fmla="*/ 810006 h 1019175"/>
                <a:gd name="connsiteX8" fmla="*/ 1674019 w 1781175"/>
                <a:gd name="connsiteY8" fmla="*/ 810006 h 1019175"/>
                <a:gd name="connsiteX9" fmla="*/ 1674019 w 1781175"/>
                <a:gd name="connsiteY9" fmla="*/ 917924 h 1019175"/>
                <a:gd name="connsiteX10" fmla="*/ 1593056 w 1781175"/>
                <a:gd name="connsiteY10" fmla="*/ 323945 h 1019175"/>
                <a:gd name="connsiteX11" fmla="*/ 1532954 w 1781175"/>
                <a:gd name="connsiteY11" fmla="*/ 297180 h 1019175"/>
                <a:gd name="connsiteX12" fmla="*/ 1320451 w 1781175"/>
                <a:gd name="connsiteY12" fmla="*/ 350044 h 1019175"/>
                <a:gd name="connsiteX13" fmla="*/ 1241965 w 1781175"/>
                <a:gd name="connsiteY13" fmla="*/ 411289 h 1019175"/>
                <a:gd name="connsiteX14" fmla="*/ 1196245 w 1781175"/>
                <a:gd name="connsiteY14" fmla="*/ 397097 h 1019175"/>
                <a:gd name="connsiteX15" fmla="*/ 971931 w 1781175"/>
                <a:gd name="connsiteY15" fmla="*/ 513778 h 1019175"/>
                <a:gd name="connsiteX16" fmla="*/ 890969 w 1781175"/>
                <a:gd name="connsiteY16" fmla="*/ 593979 h 1019175"/>
                <a:gd name="connsiteX17" fmla="*/ 811530 w 1781175"/>
                <a:gd name="connsiteY17" fmla="*/ 528352 h 1019175"/>
                <a:gd name="connsiteX18" fmla="*/ 597122 w 1781175"/>
                <a:gd name="connsiteY18" fmla="*/ 462439 h 1019175"/>
                <a:gd name="connsiteX19" fmla="*/ 539972 w 1781175"/>
                <a:gd name="connsiteY19" fmla="*/ 485965 h 1019175"/>
                <a:gd name="connsiteX20" fmla="*/ 499205 w 1781175"/>
                <a:gd name="connsiteY20" fmla="*/ 474821 h 1019175"/>
                <a:gd name="connsiteX21" fmla="*/ 269748 w 1781175"/>
                <a:gd name="connsiteY21" fmla="*/ 615982 h 1019175"/>
                <a:gd name="connsiteX22" fmla="*/ 270034 w 1781175"/>
                <a:gd name="connsiteY22" fmla="*/ 620935 h 1019175"/>
                <a:gd name="connsiteX23" fmla="*/ 188976 w 1781175"/>
                <a:gd name="connsiteY23" fmla="*/ 701993 h 1019175"/>
                <a:gd name="connsiteX24" fmla="*/ 108014 w 1781175"/>
                <a:gd name="connsiteY24" fmla="*/ 620935 h 1019175"/>
                <a:gd name="connsiteX25" fmla="*/ 188976 w 1781175"/>
                <a:gd name="connsiteY25" fmla="*/ 539972 h 1019175"/>
                <a:gd name="connsiteX26" fmla="*/ 229838 w 1781175"/>
                <a:gd name="connsiteY26" fmla="*/ 551116 h 1019175"/>
                <a:gd name="connsiteX27" fmla="*/ 459296 w 1781175"/>
                <a:gd name="connsiteY27" fmla="*/ 409956 h 1019175"/>
                <a:gd name="connsiteX28" fmla="*/ 459010 w 1781175"/>
                <a:gd name="connsiteY28" fmla="*/ 405003 h 1019175"/>
                <a:gd name="connsiteX29" fmla="*/ 539972 w 1781175"/>
                <a:gd name="connsiteY29" fmla="*/ 323945 h 1019175"/>
                <a:gd name="connsiteX30" fmla="*/ 619506 w 1781175"/>
                <a:gd name="connsiteY30" fmla="*/ 389572 h 1019175"/>
                <a:gd name="connsiteX31" fmla="*/ 833914 w 1781175"/>
                <a:gd name="connsiteY31" fmla="*/ 455485 h 1019175"/>
                <a:gd name="connsiteX32" fmla="*/ 890969 w 1781175"/>
                <a:gd name="connsiteY32" fmla="*/ 431959 h 1019175"/>
                <a:gd name="connsiteX33" fmla="*/ 936784 w 1781175"/>
                <a:gd name="connsiteY33" fmla="*/ 446151 h 1019175"/>
                <a:gd name="connsiteX34" fmla="*/ 1161098 w 1781175"/>
                <a:gd name="connsiteY34" fmla="*/ 329470 h 1019175"/>
                <a:gd name="connsiteX35" fmla="*/ 1241965 w 1781175"/>
                <a:gd name="connsiteY35" fmla="*/ 249364 h 1019175"/>
                <a:gd name="connsiteX36" fmla="*/ 1302068 w 1781175"/>
                <a:gd name="connsiteY36" fmla="*/ 276130 h 1019175"/>
                <a:gd name="connsiteX37" fmla="*/ 1514570 w 1781175"/>
                <a:gd name="connsiteY37" fmla="*/ 223266 h 1019175"/>
                <a:gd name="connsiteX38" fmla="*/ 1593056 w 1781175"/>
                <a:gd name="connsiteY38" fmla="*/ 161925 h 1019175"/>
                <a:gd name="connsiteX39" fmla="*/ 1674019 w 1781175"/>
                <a:gd name="connsiteY39" fmla="*/ 242983 h 1019175"/>
                <a:gd name="connsiteX40" fmla="*/ 1593056 w 1781175"/>
                <a:gd name="connsiteY40" fmla="*/ 32394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81175" h="1019175">
                  <a:moveTo>
                    <a:pt x="0" y="0"/>
                  </a:moveTo>
                  <a:lnTo>
                    <a:pt x="0" y="1025938"/>
                  </a:lnTo>
                  <a:lnTo>
                    <a:pt x="1782032" y="1025938"/>
                  </a:lnTo>
                  <a:lnTo>
                    <a:pt x="1782032" y="0"/>
                  </a:lnTo>
                  <a:lnTo>
                    <a:pt x="0" y="0"/>
                  </a:lnTo>
                  <a:close/>
                  <a:moveTo>
                    <a:pt x="1674019" y="917924"/>
                  </a:moveTo>
                  <a:lnTo>
                    <a:pt x="108014" y="917924"/>
                  </a:lnTo>
                  <a:lnTo>
                    <a:pt x="108014" y="810006"/>
                  </a:lnTo>
                  <a:lnTo>
                    <a:pt x="1674019" y="810006"/>
                  </a:lnTo>
                  <a:lnTo>
                    <a:pt x="1674019" y="917924"/>
                  </a:lnTo>
                  <a:close/>
                  <a:moveTo>
                    <a:pt x="1593056" y="323945"/>
                  </a:moveTo>
                  <a:cubicBezTo>
                    <a:pt x="1569149" y="323945"/>
                    <a:pt x="1547813" y="313563"/>
                    <a:pt x="1532954" y="297180"/>
                  </a:cubicBezTo>
                  <a:lnTo>
                    <a:pt x="1320451" y="350044"/>
                  </a:lnTo>
                  <a:cubicBezTo>
                    <a:pt x="1311688" y="385286"/>
                    <a:pt x="1279970" y="411289"/>
                    <a:pt x="1241965" y="411289"/>
                  </a:cubicBezTo>
                  <a:cubicBezTo>
                    <a:pt x="1225010" y="411289"/>
                    <a:pt x="1209199" y="406051"/>
                    <a:pt x="1196245" y="397097"/>
                  </a:cubicBezTo>
                  <a:lnTo>
                    <a:pt x="971931" y="513778"/>
                  </a:lnTo>
                  <a:cubicBezTo>
                    <a:pt x="971550" y="558165"/>
                    <a:pt x="935450" y="593979"/>
                    <a:pt x="890969" y="593979"/>
                  </a:cubicBezTo>
                  <a:cubicBezTo>
                    <a:pt x="851535" y="593979"/>
                    <a:pt x="818674" y="565690"/>
                    <a:pt x="811530" y="528352"/>
                  </a:cubicBezTo>
                  <a:lnTo>
                    <a:pt x="597122" y="462439"/>
                  </a:lnTo>
                  <a:cubicBezTo>
                    <a:pt x="582454" y="476917"/>
                    <a:pt x="562261" y="485965"/>
                    <a:pt x="539972" y="485965"/>
                  </a:cubicBezTo>
                  <a:cubicBezTo>
                    <a:pt x="525113" y="485965"/>
                    <a:pt x="511207" y="481870"/>
                    <a:pt x="499205" y="474821"/>
                  </a:cubicBezTo>
                  <a:lnTo>
                    <a:pt x="269748" y="615982"/>
                  </a:lnTo>
                  <a:cubicBezTo>
                    <a:pt x="269843" y="617696"/>
                    <a:pt x="270034" y="619315"/>
                    <a:pt x="270034" y="620935"/>
                  </a:cubicBezTo>
                  <a:cubicBezTo>
                    <a:pt x="270034" y="665702"/>
                    <a:pt x="233744" y="701993"/>
                    <a:pt x="188976" y="701993"/>
                  </a:cubicBezTo>
                  <a:cubicBezTo>
                    <a:pt x="144304" y="701993"/>
                    <a:pt x="108014" y="665702"/>
                    <a:pt x="108014" y="620935"/>
                  </a:cubicBezTo>
                  <a:cubicBezTo>
                    <a:pt x="108014" y="576263"/>
                    <a:pt x="144304" y="539972"/>
                    <a:pt x="188976" y="539972"/>
                  </a:cubicBezTo>
                  <a:cubicBezTo>
                    <a:pt x="203930" y="539972"/>
                    <a:pt x="217837" y="544068"/>
                    <a:pt x="229838" y="551116"/>
                  </a:cubicBezTo>
                  <a:lnTo>
                    <a:pt x="459296" y="409956"/>
                  </a:lnTo>
                  <a:cubicBezTo>
                    <a:pt x="459200" y="408241"/>
                    <a:pt x="459010" y="406622"/>
                    <a:pt x="459010" y="405003"/>
                  </a:cubicBezTo>
                  <a:cubicBezTo>
                    <a:pt x="459010" y="360235"/>
                    <a:pt x="495300" y="323945"/>
                    <a:pt x="539972" y="323945"/>
                  </a:cubicBezTo>
                  <a:cubicBezTo>
                    <a:pt x="579501" y="323945"/>
                    <a:pt x="612267" y="352234"/>
                    <a:pt x="619506" y="389572"/>
                  </a:cubicBezTo>
                  <a:lnTo>
                    <a:pt x="833914" y="455485"/>
                  </a:lnTo>
                  <a:cubicBezTo>
                    <a:pt x="848582" y="441007"/>
                    <a:pt x="868680" y="431959"/>
                    <a:pt x="890969" y="431959"/>
                  </a:cubicBezTo>
                  <a:cubicBezTo>
                    <a:pt x="908018" y="431959"/>
                    <a:pt x="923734" y="437197"/>
                    <a:pt x="936784" y="446151"/>
                  </a:cubicBezTo>
                  <a:lnTo>
                    <a:pt x="1161098" y="329470"/>
                  </a:lnTo>
                  <a:cubicBezTo>
                    <a:pt x="1161479" y="285178"/>
                    <a:pt x="1197578" y="249364"/>
                    <a:pt x="1241965" y="249364"/>
                  </a:cubicBezTo>
                  <a:cubicBezTo>
                    <a:pt x="1265873" y="249364"/>
                    <a:pt x="1287209" y="259747"/>
                    <a:pt x="1302068" y="276130"/>
                  </a:cubicBezTo>
                  <a:lnTo>
                    <a:pt x="1514570" y="223266"/>
                  </a:lnTo>
                  <a:cubicBezTo>
                    <a:pt x="1523333" y="188023"/>
                    <a:pt x="1555052" y="161925"/>
                    <a:pt x="1593056" y="161925"/>
                  </a:cubicBezTo>
                  <a:cubicBezTo>
                    <a:pt x="1637729" y="161925"/>
                    <a:pt x="1674019" y="198215"/>
                    <a:pt x="1674019" y="242983"/>
                  </a:cubicBezTo>
                  <a:cubicBezTo>
                    <a:pt x="1674019" y="287655"/>
                    <a:pt x="1637729" y="323945"/>
                    <a:pt x="1593056" y="323945"/>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4" name="Freihandform: Form 93">
              <a:extLst>
                <a:ext uri="{FF2B5EF4-FFF2-40B4-BE49-F238E27FC236}">
                  <a16:creationId xmlns:a16="http://schemas.microsoft.com/office/drawing/2014/main" id="{43E299BB-866B-4795-966E-8CB1992E1B4B}"/>
                </a:ext>
              </a:extLst>
            </p:cNvPr>
            <p:cNvSpPr/>
            <p:nvPr/>
          </p:nvSpPr>
          <p:spPr>
            <a:xfrm>
              <a:off x="3384550" y="2134267"/>
              <a:ext cx="5419725" cy="3438525"/>
            </a:xfrm>
            <a:custGeom>
              <a:avLst/>
              <a:gdLst>
                <a:gd name="connsiteX0" fmla="*/ 0 w 5419725"/>
                <a:gd name="connsiteY0" fmla="*/ 0 h 3438525"/>
                <a:gd name="connsiteX1" fmla="*/ 0 w 5419725"/>
                <a:gd name="connsiteY1" fmla="*/ 3442145 h 3438525"/>
                <a:gd name="connsiteX2" fmla="*/ 5426107 w 5419725"/>
                <a:gd name="connsiteY2" fmla="*/ 3442145 h 3438525"/>
                <a:gd name="connsiteX3" fmla="*/ 5426107 w 5419725"/>
                <a:gd name="connsiteY3" fmla="*/ 0 h 3438525"/>
                <a:gd name="connsiteX4" fmla="*/ 0 w 5419725"/>
                <a:gd name="connsiteY4" fmla="*/ 0 h 3438525"/>
                <a:gd name="connsiteX5" fmla="*/ 3643694 w 5419725"/>
                <a:gd name="connsiteY5" fmla="*/ 445198 h 3438525"/>
                <a:gd name="connsiteX6" fmla="*/ 4129659 w 5419725"/>
                <a:gd name="connsiteY6" fmla="*/ 445198 h 3438525"/>
                <a:gd name="connsiteX7" fmla="*/ 4129659 w 5419725"/>
                <a:gd name="connsiteY7" fmla="*/ 769144 h 3438525"/>
                <a:gd name="connsiteX8" fmla="*/ 3643694 w 5419725"/>
                <a:gd name="connsiteY8" fmla="*/ 769144 h 3438525"/>
                <a:gd name="connsiteX9" fmla="*/ 3643694 w 5419725"/>
                <a:gd name="connsiteY9" fmla="*/ 445198 h 3438525"/>
                <a:gd name="connsiteX10" fmla="*/ 3643694 w 5419725"/>
                <a:gd name="connsiteY10" fmla="*/ 931164 h 3438525"/>
                <a:gd name="connsiteX11" fmla="*/ 4129659 w 5419725"/>
                <a:gd name="connsiteY11" fmla="*/ 931164 h 3438525"/>
                <a:gd name="connsiteX12" fmla="*/ 4129659 w 5419725"/>
                <a:gd name="connsiteY12" fmla="*/ 1255205 h 3438525"/>
                <a:gd name="connsiteX13" fmla="*/ 3643694 w 5419725"/>
                <a:gd name="connsiteY13" fmla="*/ 1255205 h 3438525"/>
                <a:gd name="connsiteX14" fmla="*/ 3643694 w 5419725"/>
                <a:gd name="connsiteY14" fmla="*/ 931164 h 3438525"/>
                <a:gd name="connsiteX15" fmla="*/ 3643694 w 5419725"/>
                <a:gd name="connsiteY15" fmla="*/ 1417225 h 3438525"/>
                <a:gd name="connsiteX16" fmla="*/ 4129659 w 5419725"/>
                <a:gd name="connsiteY16" fmla="*/ 1417225 h 3438525"/>
                <a:gd name="connsiteX17" fmla="*/ 4129659 w 5419725"/>
                <a:gd name="connsiteY17" fmla="*/ 1741170 h 3438525"/>
                <a:gd name="connsiteX18" fmla="*/ 3643694 w 5419725"/>
                <a:gd name="connsiteY18" fmla="*/ 1741170 h 3438525"/>
                <a:gd name="connsiteX19" fmla="*/ 3643694 w 5419725"/>
                <a:gd name="connsiteY19" fmla="*/ 1417225 h 3438525"/>
                <a:gd name="connsiteX20" fmla="*/ 2995708 w 5419725"/>
                <a:gd name="connsiteY20" fmla="*/ 445198 h 3438525"/>
                <a:gd name="connsiteX21" fmla="*/ 3481673 w 5419725"/>
                <a:gd name="connsiteY21" fmla="*/ 445198 h 3438525"/>
                <a:gd name="connsiteX22" fmla="*/ 3481673 w 5419725"/>
                <a:gd name="connsiteY22" fmla="*/ 769144 h 3438525"/>
                <a:gd name="connsiteX23" fmla="*/ 2995708 w 5419725"/>
                <a:gd name="connsiteY23" fmla="*/ 769144 h 3438525"/>
                <a:gd name="connsiteX24" fmla="*/ 2995708 w 5419725"/>
                <a:gd name="connsiteY24" fmla="*/ 445198 h 3438525"/>
                <a:gd name="connsiteX25" fmla="*/ 2995708 w 5419725"/>
                <a:gd name="connsiteY25" fmla="*/ 931164 h 3438525"/>
                <a:gd name="connsiteX26" fmla="*/ 3481673 w 5419725"/>
                <a:gd name="connsiteY26" fmla="*/ 931164 h 3438525"/>
                <a:gd name="connsiteX27" fmla="*/ 3481673 w 5419725"/>
                <a:gd name="connsiteY27" fmla="*/ 1255205 h 3438525"/>
                <a:gd name="connsiteX28" fmla="*/ 2995708 w 5419725"/>
                <a:gd name="connsiteY28" fmla="*/ 1255205 h 3438525"/>
                <a:gd name="connsiteX29" fmla="*/ 2995708 w 5419725"/>
                <a:gd name="connsiteY29" fmla="*/ 931164 h 3438525"/>
                <a:gd name="connsiteX30" fmla="*/ 2995708 w 5419725"/>
                <a:gd name="connsiteY30" fmla="*/ 1417225 h 3438525"/>
                <a:gd name="connsiteX31" fmla="*/ 3481673 w 5419725"/>
                <a:gd name="connsiteY31" fmla="*/ 1417225 h 3438525"/>
                <a:gd name="connsiteX32" fmla="*/ 3481673 w 5419725"/>
                <a:gd name="connsiteY32" fmla="*/ 1741170 h 3438525"/>
                <a:gd name="connsiteX33" fmla="*/ 2995708 w 5419725"/>
                <a:gd name="connsiteY33" fmla="*/ 1741170 h 3438525"/>
                <a:gd name="connsiteX34" fmla="*/ 2995708 w 5419725"/>
                <a:gd name="connsiteY34" fmla="*/ 1417225 h 3438525"/>
                <a:gd name="connsiteX35" fmla="*/ 2413159 w 5419725"/>
                <a:gd name="connsiteY35" fmla="*/ 1903095 h 3438525"/>
                <a:gd name="connsiteX36" fmla="*/ 415100 w 5419725"/>
                <a:gd name="connsiteY36" fmla="*/ 1903095 h 3438525"/>
                <a:gd name="connsiteX37" fmla="*/ 415100 w 5419725"/>
                <a:gd name="connsiteY37" fmla="*/ 391097 h 3438525"/>
                <a:gd name="connsiteX38" fmla="*/ 2413159 w 5419725"/>
                <a:gd name="connsiteY38" fmla="*/ 391097 h 3438525"/>
                <a:gd name="connsiteX39" fmla="*/ 2413159 w 5419725"/>
                <a:gd name="connsiteY39" fmla="*/ 1903095 h 3438525"/>
                <a:gd name="connsiteX40" fmla="*/ 4777645 w 5419725"/>
                <a:gd name="connsiteY40" fmla="*/ 2053018 h 3438525"/>
                <a:gd name="connsiteX41" fmla="*/ 2995708 w 5419725"/>
                <a:gd name="connsiteY41" fmla="*/ 2053018 h 3438525"/>
                <a:gd name="connsiteX42" fmla="*/ 2995708 w 5419725"/>
                <a:gd name="connsiteY42" fmla="*/ 1955101 h 3438525"/>
                <a:gd name="connsiteX43" fmla="*/ 4777645 w 5419725"/>
                <a:gd name="connsiteY43" fmla="*/ 1955101 h 3438525"/>
                <a:gd name="connsiteX44" fmla="*/ 4777645 w 5419725"/>
                <a:gd name="connsiteY44" fmla="*/ 2053018 h 3438525"/>
                <a:gd name="connsiteX45" fmla="*/ 4777645 w 5419725"/>
                <a:gd name="connsiteY45" fmla="*/ 1741170 h 3438525"/>
                <a:gd name="connsiteX46" fmla="*/ 4291680 w 5419725"/>
                <a:gd name="connsiteY46" fmla="*/ 1741170 h 3438525"/>
                <a:gd name="connsiteX47" fmla="*/ 4291680 w 5419725"/>
                <a:gd name="connsiteY47" fmla="*/ 1417225 h 3438525"/>
                <a:gd name="connsiteX48" fmla="*/ 4777645 w 5419725"/>
                <a:gd name="connsiteY48" fmla="*/ 1417225 h 3438525"/>
                <a:gd name="connsiteX49" fmla="*/ 4777645 w 5419725"/>
                <a:gd name="connsiteY49" fmla="*/ 1741170 h 3438525"/>
                <a:gd name="connsiteX50" fmla="*/ 4777645 w 5419725"/>
                <a:gd name="connsiteY50" fmla="*/ 1255205 h 3438525"/>
                <a:gd name="connsiteX51" fmla="*/ 4291680 w 5419725"/>
                <a:gd name="connsiteY51" fmla="*/ 1255205 h 3438525"/>
                <a:gd name="connsiteX52" fmla="*/ 4291680 w 5419725"/>
                <a:gd name="connsiteY52" fmla="*/ 931164 h 3438525"/>
                <a:gd name="connsiteX53" fmla="*/ 4777645 w 5419725"/>
                <a:gd name="connsiteY53" fmla="*/ 931164 h 3438525"/>
                <a:gd name="connsiteX54" fmla="*/ 4777645 w 5419725"/>
                <a:gd name="connsiteY54" fmla="*/ 1255205 h 3438525"/>
                <a:gd name="connsiteX55" fmla="*/ 4777645 w 5419725"/>
                <a:gd name="connsiteY55" fmla="*/ 769144 h 3438525"/>
                <a:gd name="connsiteX56" fmla="*/ 4291680 w 5419725"/>
                <a:gd name="connsiteY56" fmla="*/ 769144 h 3438525"/>
                <a:gd name="connsiteX57" fmla="*/ 4291680 w 5419725"/>
                <a:gd name="connsiteY57" fmla="*/ 445198 h 3438525"/>
                <a:gd name="connsiteX58" fmla="*/ 4777645 w 5419725"/>
                <a:gd name="connsiteY58" fmla="*/ 445198 h 3438525"/>
                <a:gd name="connsiteX59" fmla="*/ 4777645 w 5419725"/>
                <a:gd name="connsiteY59" fmla="*/ 7691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419725" h="3438525">
                  <a:moveTo>
                    <a:pt x="0" y="0"/>
                  </a:moveTo>
                  <a:lnTo>
                    <a:pt x="0" y="3442145"/>
                  </a:lnTo>
                  <a:lnTo>
                    <a:pt x="5426107" y="3442145"/>
                  </a:lnTo>
                  <a:lnTo>
                    <a:pt x="5426107" y="0"/>
                  </a:lnTo>
                  <a:lnTo>
                    <a:pt x="0" y="0"/>
                  </a:lnTo>
                  <a:close/>
                  <a:moveTo>
                    <a:pt x="3643694" y="445198"/>
                  </a:moveTo>
                  <a:lnTo>
                    <a:pt x="4129659" y="445198"/>
                  </a:lnTo>
                  <a:lnTo>
                    <a:pt x="4129659" y="769144"/>
                  </a:lnTo>
                  <a:lnTo>
                    <a:pt x="3643694" y="769144"/>
                  </a:lnTo>
                  <a:lnTo>
                    <a:pt x="3643694" y="445198"/>
                  </a:lnTo>
                  <a:close/>
                  <a:moveTo>
                    <a:pt x="3643694" y="931164"/>
                  </a:moveTo>
                  <a:lnTo>
                    <a:pt x="4129659" y="931164"/>
                  </a:lnTo>
                  <a:lnTo>
                    <a:pt x="4129659" y="1255205"/>
                  </a:lnTo>
                  <a:lnTo>
                    <a:pt x="3643694" y="1255205"/>
                  </a:lnTo>
                  <a:lnTo>
                    <a:pt x="3643694" y="931164"/>
                  </a:lnTo>
                  <a:close/>
                  <a:moveTo>
                    <a:pt x="3643694" y="1417225"/>
                  </a:moveTo>
                  <a:lnTo>
                    <a:pt x="4129659" y="1417225"/>
                  </a:lnTo>
                  <a:lnTo>
                    <a:pt x="4129659" y="1741170"/>
                  </a:lnTo>
                  <a:lnTo>
                    <a:pt x="3643694" y="1741170"/>
                  </a:lnTo>
                  <a:lnTo>
                    <a:pt x="3643694" y="1417225"/>
                  </a:lnTo>
                  <a:close/>
                  <a:moveTo>
                    <a:pt x="2995708" y="445198"/>
                  </a:moveTo>
                  <a:lnTo>
                    <a:pt x="3481673" y="445198"/>
                  </a:lnTo>
                  <a:lnTo>
                    <a:pt x="3481673" y="769144"/>
                  </a:lnTo>
                  <a:lnTo>
                    <a:pt x="2995708" y="769144"/>
                  </a:lnTo>
                  <a:lnTo>
                    <a:pt x="2995708" y="445198"/>
                  </a:lnTo>
                  <a:close/>
                  <a:moveTo>
                    <a:pt x="2995708" y="931164"/>
                  </a:moveTo>
                  <a:lnTo>
                    <a:pt x="3481673" y="931164"/>
                  </a:lnTo>
                  <a:lnTo>
                    <a:pt x="3481673" y="1255205"/>
                  </a:lnTo>
                  <a:lnTo>
                    <a:pt x="2995708" y="1255205"/>
                  </a:lnTo>
                  <a:lnTo>
                    <a:pt x="2995708" y="931164"/>
                  </a:lnTo>
                  <a:close/>
                  <a:moveTo>
                    <a:pt x="2995708" y="1417225"/>
                  </a:moveTo>
                  <a:lnTo>
                    <a:pt x="3481673" y="1417225"/>
                  </a:lnTo>
                  <a:lnTo>
                    <a:pt x="3481673" y="1741170"/>
                  </a:lnTo>
                  <a:lnTo>
                    <a:pt x="2995708" y="1741170"/>
                  </a:lnTo>
                  <a:lnTo>
                    <a:pt x="2995708" y="1417225"/>
                  </a:lnTo>
                  <a:close/>
                  <a:moveTo>
                    <a:pt x="2413159" y="1903095"/>
                  </a:moveTo>
                  <a:lnTo>
                    <a:pt x="415100" y="1903095"/>
                  </a:lnTo>
                  <a:lnTo>
                    <a:pt x="415100" y="391097"/>
                  </a:lnTo>
                  <a:lnTo>
                    <a:pt x="2413159" y="391097"/>
                  </a:lnTo>
                  <a:lnTo>
                    <a:pt x="2413159" y="1903095"/>
                  </a:lnTo>
                  <a:close/>
                  <a:moveTo>
                    <a:pt x="4777645" y="2053018"/>
                  </a:moveTo>
                  <a:lnTo>
                    <a:pt x="2995708" y="2053018"/>
                  </a:lnTo>
                  <a:lnTo>
                    <a:pt x="2995708" y="1955101"/>
                  </a:lnTo>
                  <a:lnTo>
                    <a:pt x="4777645" y="1955101"/>
                  </a:lnTo>
                  <a:lnTo>
                    <a:pt x="4777645" y="2053018"/>
                  </a:lnTo>
                  <a:close/>
                  <a:moveTo>
                    <a:pt x="4777645" y="1741170"/>
                  </a:moveTo>
                  <a:lnTo>
                    <a:pt x="4291680" y="1741170"/>
                  </a:lnTo>
                  <a:lnTo>
                    <a:pt x="4291680" y="1417225"/>
                  </a:lnTo>
                  <a:lnTo>
                    <a:pt x="4777645" y="1417225"/>
                  </a:lnTo>
                  <a:lnTo>
                    <a:pt x="4777645" y="1741170"/>
                  </a:lnTo>
                  <a:close/>
                  <a:moveTo>
                    <a:pt x="4777645" y="1255205"/>
                  </a:moveTo>
                  <a:lnTo>
                    <a:pt x="4291680" y="1255205"/>
                  </a:lnTo>
                  <a:lnTo>
                    <a:pt x="4291680" y="931164"/>
                  </a:lnTo>
                  <a:lnTo>
                    <a:pt x="4777645" y="931164"/>
                  </a:lnTo>
                  <a:lnTo>
                    <a:pt x="4777645" y="1255205"/>
                  </a:lnTo>
                  <a:close/>
                  <a:moveTo>
                    <a:pt x="4777645" y="769144"/>
                  </a:moveTo>
                  <a:lnTo>
                    <a:pt x="4291680" y="769144"/>
                  </a:lnTo>
                  <a:lnTo>
                    <a:pt x="4291680" y="445198"/>
                  </a:lnTo>
                  <a:lnTo>
                    <a:pt x="4777645" y="445198"/>
                  </a:lnTo>
                  <a:lnTo>
                    <a:pt x="4777645" y="769144"/>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5" name="Freihandform: Form 94">
              <a:extLst>
                <a:ext uri="{FF2B5EF4-FFF2-40B4-BE49-F238E27FC236}">
                  <a16:creationId xmlns:a16="http://schemas.microsoft.com/office/drawing/2014/main" id="{1EFC9589-A7E6-48E4-880A-C7BC1AD30EBC}"/>
                </a:ext>
              </a:extLst>
            </p:cNvPr>
            <p:cNvSpPr/>
            <p:nvPr/>
          </p:nvSpPr>
          <p:spPr>
            <a:xfrm>
              <a:off x="3384550" y="1285875"/>
              <a:ext cx="5419725" cy="638175"/>
            </a:xfrm>
            <a:custGeom>
              <a:avLst/>
              <a:gdLst>
                <a:gd name="connsiteX0" fmla="*/ 0 w 5419725"/>
                <a:gd name="connsiteY0" fmla="*/ 0 h 638175"/>
                <a:gd name="connsiteX1" fmla="*/ 5426107 w 5419725"/>
                <a:gd name="connsiteY1" fmla="*/ 0 h 638175"/>
                <a:gd name="connsiteX2" fmla="*/ 5426107 w 5419725"/>
                <a:gd name="connsiteY2" fmla="*/ 644366 h 638175"/>
                <a:gd name="connsiteX3" fmla="*/ 0 w 5419725"/>
                <a:gd name="connsiteY3" fmla="*/ 644366 h 638175"/>
              </a:gdLst>
              <a:ahLst/>
              <a:cxnLst>
                <a:cxn ang="0">
                  <a:pos x="connsiteX0" y="connsiteY0"/>
                </a:cxn>
                <a:cxn ang="0">
                  <a:pos x="connsiteX1" y="connsiteY1"/>
                </a:cxn>
                <a:cxn ang="0">
                  <a:pos x="connsiteX2" y="connsiteY2"/>
                </a:cxn>
                <a:cxn ang="0">
                  <a:pos x="connsiteX3" y="connsiteY3"/>
                </a:cxn>
              </a:cxnLst>
              <a:rect l="l" t="t" r="r" b="b"/>
              <a:pathLst>
                <a:path w="5419725" h="638175">
                  <a:moveTo>
                    <a:pt x="0" y="0"/>
                  </a:moveTo>
                  <a:lnTo>
                    <a:pt x="5426107" y="0"/>
                  </a:lnTo>
                  <a:lnTo>
                    <a:pt x="5426107" y="644366"/>
                  </a:lnTo>
                  <a:lnTo>
                    <a:pt x="0" y="644366"/>
                  </a:ln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grpSp>
        <p:nvGrpSpPr>
          <p:cNvPr id="96" name="Grafik 31">
            <a:extLst>
              <a:ext uri="{FF2B5EF4-FFF2-40B4-BE49-F238E27FC236}">
                <a16:creationId xmlns:a16="http://schemas.microsoft.com/office/drawing/2014/main" id="{0DECDCFC-537D-476C-B584-5176395F73C5}"/>
              </a:ext>
            </a:extLst>
          </p:cNvPr>
          <p:cNvGrpSpPr/>
          <p:nvPr/>
        </p:nvGrpSpPr>
        <p:grpSpPr>
          <a:xfrm>
            <a:off x="10727764" y="4450082"/>
            <a:ext cx="324365" cy="313695"/>
            <a:chOff x="5375275" y="2724150"/>
            <a:chExt cx="1447800" cy="1400175"/>
          </a:xfrm>
          <a:solidFill>
            <a:srgbClr val="66667E"/>
          </a:solidFill>
        </p:grpSpPr>
        <p:sp>
          <p:nvSpPr>
            <p:cNvPr id="97" name="Freihandform: Form 96">
              <a:extLst>
                <a:ext uri="{FF2B5EF4-FFF2-40B4-BE49-F238E27FC236}">
                  <a16:creationId xmlns:a16="http://schemas.microsoft.com/office/drawing/2014/main" id="{DFAA78F8-006D-40DC-8494-85BC0E39F9BA}"/>
                </a:ext>
              </a:extLst>
            </p:cNvPr>
            <p:cNvSpPr/>
            <p:nvPr/>
          </p:nvSpPr>
          <p:spPr>
            <a:xfrm>
              <a:off x="6076029" y="4128135"/>
              <a:ext cx="9525" cy="9525"/>
            </a:xfrm>
            <a:custGeom>
              <a:avLst/>
              <a:gdLst>
                <a:gd name="connsiteX0" fmla="*/ 476 w 0"/>
                <a:gd name="connsiteY0" fmla="*/ 0 h 0"/>
                <a:gd name="connsiteX1" fmla="*/ 0 w 0"/>
                <a:gd name="connsiteY1" fmla="*/ 0 h 0"/>
                <a:gd name="connsiteX2" fmla="*/ 476 w 0"/>
                <a:gd name="connsiteY2" fmla="*/ 0 h 0"/>
              </a:gdLst>
              <a:ahLst/>
              <a:cxnLst>
                <a:cxn ang="0">
                  <a:pos x="connsiteX0" y="connsiteY0"/>
                </a:cxn>
                <a:cxn ang="0">
                  <a:pos x="connsiteX1" y="connsiteY1"/>
                </a:cxn>
                <a:cxn ang="0">
                  <a:pos x="connsiteX2" y="connsiteY2"/>
                </a:cxn>
              </a:cxnLst>
              <a:rect l="l" t="t" r="r" b="b"/>
              <a:pathLst>
                <a:path>
                  <a:moveTo>
                    <a:pt x="476" y="0"/>
                  </a:moveTo>
                  <a:lnTo>
                    <a:pt x="0" y="0"/>
                  </a:lnTo>
                  <a:cubicBezTo>
                    <a:pt x="0" y="0"/>
                    <a:pt x="190" y="4572"/>
                    <a:pt x="476" y="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8" name="Freihandform: Form 97">
              <a:extLst>
                <a:ext uri="{FF2B5EF4-FFF2-40B4-BE49-F238E27FC236}">
                  <a16:creationId xmlns:a16="http://schemas.microsoft.com/office/drawing/2014/main" id="{7A642B44-3B8D-40CD-8620-C58AD306D99C}"/>
                </a:ext>
              </a:extLst>
            </p:cNvPr>
            <p:cNvSpPr/>
            <p:nvPr/>
          </p:nvSpPr>
          <p:spPr>
            <a:xfrm>
              <a:off x="5375275" y="2724150"/>
              <a:ext cx="1447800" cy="400050"/>
            </a:xfrm>
            <a:custGeom>
              <a:avLst/>
              <a:gdLst>
                <a:gd name="connsiteX0" fmla="*/ 1346645 w 1447800"/>
                <a:gd name="connsiteY0" fmla="*/ 403860 h 400050"/>
                <a:gd name="connsiteX1" fmla="*/ 1449991 w 1447800"/>
                <a:gd name="connsiteY1" fmla="*/ 300514 h 400050"/>
                <a:gd name="connsiteX2" fmla="*/ 1447610 w 1447800"/>
                <a:gd name="connsiteY2" fmla="*/ 298133 h 400050"/>
                <a:gd name="connsiteX3" fmla="*/ 724948 w 1447800"/>
                <a:gd name="connsiteY3" fmla="*/ 0 h 400050"/>
                <a:gd name="connsiteX4" fmla="*/ 0 w 1447800"/>
                <a:gd name="connsiteY4" fmla="*/ 300514 h 400050"/>
                <a:gd name="connsiteX5" fmla="*/ 103346 w 1447800"/>
                <a:gd name="connsiteY5" fmla="*/ 403860 h 400050"/>
                <a:gd name="connsiteX6" fmla="*/ 725043 w 1447800"/>
                <a:gd name="connsiteY6" fmla="*/ 146304 h 400050"/>
                <a:gd name="connsiteX7" fmla="*/ 1346645 w 1447800"/>
                <a:gd name="connsiteY7" fmla="*/ 40386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0" h="400050">
                  <a:moveTo>
                    <a:pt x="1346645" y="403860"/>
                  </a:moveTo>
                  <a:cubicBezTo>
                    <a:pt x="1346645" y="403860"/>
                    <a:pt x="1346645" y="403860"/>
                    <a:pt x="1449991" y="300514"/>
                  </a:cubicBezTo>
                  <a:cubicBezTo>
                    <a:pt x="1449991" y="300514"/>
                    <a:pt x="1449991" y="300514"/>
                    <a:pt x="1447610" y="298133"/>
                  </a:cubicBezTo>
                  <a:cubicBezTo>
                    <a:pt x="1262063" y="113633"/>
                    <a:pt x="1007078" y="0"/>
                    <a:pt x="724948" y="0"/>
                  </a:cubicBezTo>
                  <a:cubicBezTo>
                    <a:pt x="441579" y="0"/>
                    <a:pt x="185452" y="114872"/>
                    <a:pt x="0" y="300514"/>
                  </a:cubicBezTo>
                  <a:lnTo>
                    <a:pt x="103346" y="403860"/>
                  </a:lnTo>
                  <a:cubicBezTo>
                    <a:pt x="262795" y="244888"/>
                    <a:pt x="482156" y="146304"/>
                    <a:pt x="725043" y="146304"/>
                  </a:cubicBezTo>
                  <a:cubicBezTo>
                    <a:pt x="967835" y="146304"/>
                    <a:pt x="1187101" y="244888"/>
                    <a:pt x="1346645" y="403860"/>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99" name="Freihandform: Form 98">
              <a:extLst>
                <a:ext uri="{FF2B5EF4-FFF2-40B4-BE49-F238E27FC236}">
                  <a16:creationId xmlns:a16="http://schemas.microsoft.com/office/drawing/2014/main" id="{6FED76A7-DD37-4A75-9CB9-A0FD2B82731A}"/>
                </a:ext>
              </a:extLst>
            </p:cNvPr>
            <p:cNvSpPr/>
            <p:nvPr/>
          </p:nvSpPr>
          <p:spPr>
            <a:xfrm>
              <a:off x="5582444" y="3017425"/>
              <a:ext cx="1028700" cy="314325"/>
            </a:xfrm>
            <a:custGeom>
              <a:avLst/>
              <a:gdLst>
                <a:gd name="connsiteX0" fmla="*/ 932212 w 1028700"/>
                <a:gd name="connsiteY0" fmla="*/ 317944 h 314325"/>
                <a:gd name="connsiteX1" fmla="*/ 1035558 w 1028700"/>
                <a:gd name="connsiteY1" fmla="*/ 214598 h 314325"/>
                <a:gd name="connsiteX2" fmla="*/ 517779 w 1028700"/>
                <a:gd name="connsiteY2" fmla="*/ 0 h 314325"/>
                <a:gd name="connsiteX3" fmla="*/ 0 w 1028700"/>
                <a:gd name="connsiteY3" fmla="*/ 214598 h 314325"/>
                <a:gd name="connsiteX4" fmla="*/ 103346 w 1028700"/>
                <a:gd name="connsiteY4" fmla="*/ 317944 h 314325"/>
                <a:gd name="connsiteX5" fmla="*/ 517779 w 1028700"/>
                <a:gd name="connsiteY5" fmla="*/ 146209 h 314325"/>
                <a:gd name="connsiteX6" fmla="*/ 932212 w 1028700"/>
                <a:gd name="connsiteY6" fmla="*/ 317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0" h="314325">
                  <a:moveTo>
                    <a:pt x="932212" y="317944"/>
                  </a:moveTo>
                  <a:cubicBezTo>
                    <a:pt x="932212" y="317944"/>
                    <a:pt x="932212" y="317944"/>
                    <a:pt x="1035558" y="214598"/>
                  </a:cubicBezTo>
                  <a:cubicBezTo>
                    <a:pt x="903256" y="81629"/>
                    <a:pt x="720185" y="0"/>
                    <a:pt x="517779" y="0"/>
                  </a:cubicBezTo>
                  <a:cubicBezTo>
                    <a:pt x="315373" y="0"/>
                    <a:pt x="132302" y="81629"/>
                    <a:pt x="0" y="214598"/>
                  </a:cubicBezTo>
                  <a:lnTo>
                    <a:pt x="103346" y="317944"/>
                  </a:lnTo>
                  <a:cubicBezTo>
                    <a:pt x="209645" y="212122"/>
                    <a:pt x="355854" y="146209"/>
                    <a:pt x="517779" y="146209"/>
                  </a:cubicBezTo>
                  <a:cubicBezTo>
                    <a:pt x="679704" y="146304"/>
                    <a:pt x="825913" y="212122"/>
                    <a:pt x="932212" y="31794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100" name="Freihandform: Form 99">
              <a:extLst>
                <a:ext uri="{FF2B5EF4-FFF2-40B4-BE49-F238E27FC236}">
                  <a16:creationId xmlns:a16="http://schemas.microsoft.com/office/drawing/2014/main" id="{4E1679A1-C3E4-49F4-AF41-EB644ECABD73}"/>
                </a:ext>
              </a:extLst>
            </p:cNvPr>
            <p:cNvSpPr/>
            <p:nvPr/>
          </p:nvSpPr>
          <p:spPr>
            <a:xfrm>
              <a:off x="5996877" y="3603784"/>
              <a:ext cx="200025" cy="142875"/>
            </a:xfrm>
            <a:custGeom>
              <a:avLst/>
              <a:gdLst>
                <a:gd name="connsiteX0" fmla="*/ 206692 w 200025"/>
                <a:gd name="connsiteY0" fmla="*/ 42958 h 142875"/>
                <a:gd name="connsiteX1" fmla="*/ 103346 w 200025"/>
                <a:gd name="connsiteY1" fmla="*/ 0 h 142875"/>
                <a:gd name="connsiteX2" fmla="*/ 0 w 200025"/>
                <a:gd name="connsiteY2" fmla="*/ 42958 h 142875"/>
                <a:gd name="connsiteX3" fmla="*/ 103346 w 200025"/>
                <a:gd name="connsiteY3" fmla="*/ 146304 h 142875"/>
                <a:gd name="connsiteX4" fmla="*/ 206692 w 200025"/>
                <a:gd name="connsiteY4" fmla="*/ 42958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42875">
                  <a:moveTo>
                    <a:pt x="206692" y="42958"/>
                  </a:moveTo>
                  <a:cubicBezTo>
                    <a:pt x="180689" y="16383"/>
                    <a:pt x="143827" y="0"/>
                    <a:pt x="103346" y="0"/>
                  </a:cubicBezTo>
                  <a:cubicBezTo>
                    <a:pt x="62865" y="0"/>
                    <a:pt x="26003" y="16288"/>
                    <a:pt x="0" y="42958"/>
                  </a:cubicBezTo>
                  <a:lnTo>
                    <a:pt x="103346" y="146304"/>
                  </a:lnTo>
                  <a:cubicBezTo>
                    <a:pt x="103346" y="146399"/>
                    <a:pt x="103346" y="146399"/>
                    <a:pt x="206692" y="42958"/>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sp>
          <p:nvSpPr>
            <p:cNvPr id="101" name="Freihandform: Form 100">
              <a:extLst>
                <a:ext uri="{FF2B5EF4-FFF2-40B4-BE49-F238E27FC236}">
                  <a16:creationId xmlns:a16="http://schemas.microsoft.com/office/drawing/2014/main" id="{E9A34260-A35A-477F-9D50-A0863934E0C3}"/>
                </a:ext>
              </a:extLst>
            </p:cNvPr>
            <p:cNvSpPr/>
            <p:nvPr/>
          </p:nvSpPr>
          <p:spPr>
            <a:xfrm>
              <a:off x="5789803" y="3310604"/>
              <a:ext cx="619125" cy="228600"/>
            </a:xfrm>
            <a:custGeom>
              <a:avLst/>
              <a:gdLst>
                <a:gd name="connsiteX0" fmla="*/ 517684 w 619125"/>
                <a:gd name="connsiteY0" fmla="*/ 232124 h 228600"/>
                <a:gd name="connsiteX1" fmla="*/ 621030 w 619125"/>
                <a:gd name="connsiteY1" fmla="*/ 128778 h 228600"/>
                <a:gd name="connsiteX2" fmla="*/ 310515 w 619125"/>
                <a:gd name="connsiteY2" fmla="*/ 0 h 228600"/>
                <a:gd name="connsiteX3" fmla="*/ 0 w 619125"/>
                <a:gd name="connsiteY3" fmla="*/ 128778 h 228600"/>
                <a:gd name="connsiteX4" fmla="*/ 103346 w 619125"/>
                <a:gd name="connsiteY4" fmla="*/ 232124 h 228600"/>
                <a:gd name="connsiteX5" fmla="*/ 310610 w 619125"/>
                <a:gd name="connsiteY5" fmla="*/ 146304 h 228600"/>
                <a:gd name="connsiteX6" fmla="*/ 517684 w 619125"/>
                <a:gd name="connsiteY6" fmla="*/ 2321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28600">
                  <a:moveTo>
                    <a:pt x="517684" y="232124"/>
                  </a:moveTo>
                  <a:cubicBezTo>
                    <a:pt x="517684" y="232124"/>
                    <a:pt x="517684" y="232124"/>
                    <a:pt x="621030" y="128778"/>
                  </a:cubicBezTo>
                  <a:cubicBezTo>
                    <a:pt x="541877" y="48958"/>
                    <a:pt x="431959" y="0"/>
                    <a:pt x="310515" y="0"/>
                  </a:cubicBezTo>
                  <a:cubicBezTo>
                    <a:pt x="189071" y="0"/>
                    <a:pt x="79153" y="48958"/>
                    <a:pt x="0" y="128778"/>
                  </a:cubicBezTo>
                  <a:lnTo>
                    <a:pt x="103346" y="232124"/>
                  </a:lnTo>
                  <a:cubicBezTo>
                    <a:pt x="156496" y="178879"/>
                    <a:pt x="229648" y="146304"/>
                    <a:pt x="310610" y="146304"/>
                  </a:cubicBezTo>
                  <a:cubicBezTo>
                    <a:pt x="391573" y="146304"/>
                    <a:pt x="464439" y="178975"/>
                    <a:pt x="517684" y="232124"/>
                  </a:cubicBezTo>
                  <a:close/>
                </a:path>
              </a:pathLst>
            </a:custGeom>
            <a:grpFill/>
            <a:ln w="9525" cap="flat">
              <a:noFill/>
              <a:prstDash val="solid"/>
              <a:miter/>
            </a:ln>
          </p:spPr>
          <p:txBody>
            <a:bodyPr rtlCol="0" anchor="ctr"/>
            <a:lstStyle/>
            <a:p>
              <a:endParaRPr lang="en-US" sz="1798" dirty="0">
                <a:solidFill>
                  <a:srgbClr val="000000"/>
                </a:solidFill>
                <a:latin typeface="Arial"/>
              </a:endParaRPr>
            </a:p>
          </p:txBody>
        </p:sp>
      </p:grpSp>
      <p:sp>
        <p:nvSpPr>
          <p:cNvPr id="102" name="Rechteck 101">
            <a:extLst>
              <a:ext uri="{FF2B5EF4-FFF2-40B4-BE49-F238E27FC236}">
                <a16:creationId xmlns:a16="http://schemas.microsoft.com/office/drawing/2014/main" id="{B27A2367-D7A8-445A-8F2F-08D9D30D104A}"/>
              </a:ext>
            </a:extLst>
          </p:cNvPr>
          <p:cNvSpPr/>
          <p:nvPr/>
        </p:nvSpPr>
        <p:spPr bwMode="auto">
          <a:xfrm>
            <a:off x="10068630"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3" name="Rechteck 102">
            <a:extLst>
              <a:ext uri="{FF2B5EF4-FFF2-40B4-BE49-F238E27FC236}">
                <a16:creationId xmlns:a16="http://schemas.microsoft.com/office/drawing/2014/main" id="{7E44BC6B-4A0E-45DF-A2E2-2FF572FDE136}"/>
              </a:ext>
            </a:extLst>
          </p:cNvPr>
          <p:cNvSpPr/>
          <p:nvPr/>
        </p:nvSpPr>
        <p:spPr bwMode="auto">
          <a:xfrm>
            <a:off x="11076526" y="4967623"/>
            <a:ext cx="59224" cy="468106"/>
          </a:xfrm>
          <a:prstGeom prst="rect">
            <a:avLst/>
          </a:prstGeom>
          <a:solidFill>
            <a:srgbClr val="66667E"/>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4" name="Rechteck 103">
            <a:extLst>
              <a:ext uri="{FF2B5EF4-FFF2-40B4-BE49-F238E27FC236}">
                <a16:creationId xmlns:a16="http://schemas.microsoft.com/office/drawing/2014/main" id="{F884628B-5FA9-4FCA-BA8B-E40C7F5C4D27}"/>
              </a:ext>
            </a:extLst>
          </p:cNvPr>
          <p:cNvSpPr/>
          <p:nvPr/>
        </p:nvSpPr>
        <p:spPr bwMode="auto">
          <a:xfrm>
            <a:off x="1479646"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5" name="Rechteck 104">
            <a:extLst>
              <a:ext uri="{FF2B5EF4-FFF2-40B4-BE49-F238E27FC236}">
                <a16:creationId xmlns:a16="http://schemas.microsoft.com/office/drawing/2014/main" id="{E6539F0F-AEEC-4DE1-B55C-9F62A0665B22}"/>
              </a:ext>
            </a:extLst>
          </p:cNvPr>
          <p:cNvSpPr/>
          <p:nvPr/>
        </p:nvSpPr>
        <p:spPr bwMode="auto">
          <a:xfrm>
            <a:off x="3019391"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6" name="Rechteck 105">
            <a:extLst>
              <a:ext uri="{FF2B5EF4-FFF2-40B4-BE49-F238E27FC236}">
                <a16:creationId xmlns:a16="http://schemas.microsoft.com/office/drawing/2014/main" id="{C54D97D0-4C0E-4DF6-A292-3807E16B7973}"/>
              </a:ext>
            </a:extLst>
          </p:cNvPr>
          <p:cNvSpPr/>
          <p:nvPr/>
        </p:nvSpPr>
        <p:spPr bwMode="auto">
          <a:xfrm>
            <a:off x="4892639"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7" name="Rechteck 106">
            <a:extLst>
              <a:ext uri="{FF2B5EF4-FFF2-40B4-BE49-F238E27FC236}">
                <a16:creationId xmlns:a16="http://schemas.microsoft.com/office/drawing/2014/main" id="{37B0A8EA-373D-47E6-8D06-D24BC0327A12}"/>
              </a:ext>
            </a:extLst>
          </p:cNvPr>
          <p:cNvSpPr/>
          <p:nvPr/>
        </p:nvSpPr>
        <p:spPr bwMode="auto">
          <a:xfrm>
            <a:off x="7808335"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8" name="Rechteck 107">
            <a:extLst>
              <a:ext uri="{FF2B5EF4-FFF2-40B4-BE49-F238E27FC236}">
                <a16:creationId xmlns:a16="http://schemas.microsoft.com/office/drawing/2014/main" id="{246AE170-9B14-4150-90E4-53D86BBB6179}"/>
              </a:ext>
            </a:extLst>
          </p:cNvPr>
          <p:cNvSpPr/>
          <p:nvPr/>
        </p:nvSpPr>
        <p:spPr bwMode="auto">
          <a:xfrm>
            <a:off x="9860484" y="5040221"/>
            <a:ext cx="124552" cy="131318"/>
          </a:xfrm>
          <a:prstGeom prst="rect">
            <a:avLst/>
          </a:prstGeom>
          <a:solidFill>
            <a:schemeClr val="accent1"/>
          </a:solidFill>
          <a:ln>
            <a:noFill/>
          </a:ln>
          <a:effectLst/>
        </p:spPr>
        <p:txBody>
          <a:bodyPr wrap="square" lIns="107888" tIns="53944" rIns="107888" bIns="53944" numCol="1" spcCol="72000" rtlCol="0" anchor="ctr">
            <a:noAutofit/>
          </a:bodyPr>
          <a:lstStyle/>
          <a:p>
            <a:pPr algn="ctr">
              <a:lnSpc>
                <a:spcPct val="110000"/>
              </a:lnSpc>
              <a:spcBef>
                <a:spcPct val="0"/>
              </a:spcBef>
            </a:pPr>
            <a:endParaRPr lang="en-US" sz="1798" dirty="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109" name="Gerader Verbinder 108">
            <a:extLst>
              <a:ext uri="{FF2B5EF4-FFF2-40B4-BE49-F238E27FC236}">
                <a16:creationId xmlns:a16="http://schemas.microsoft.com/office/drawing/2014/main" id="{5DCA3E7B-3B4A-475B-A9EA-509F2563443D}"/>
              </a:ext>
            </a:extLst>
          </p:cNvPr>
          <p:cNvCxnSpPr>
            <a:cxnSpLocks/>
          </p:cNvCxnSpPr>
          <p:nvPr/>
        </p:nvCxnSpPr>
        <p:spPr bwMode="auto">
          <a:xfrm>
            <a:off x="771642" y="2913608"/>
            <a:ext cx="0" cy="981889"/>
          </a:xfrm>
          <a:prstGeom prst="line">
            <a:avLst/>
          </a:prstGeom>
          <a:solidFill>
            <a:schemeClr val="tx2"/>
          </a:solidFill>
          <a:ln w="19050" cap="rnd" cmpd="sng" algn="ctr">
            <a:solidFill>
              <a:srgbClr val="32A0A0"/>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Gerader Verbinder 109">
            <a:extLst>
              <a:ext uri="{FF2B5EF4-FFF2-40B4-BE49-F238E27FC236}">
                <a16:creationId xmlns:a16="http://schemas.microsoft.com/office/drawing/2014/main" id="{620DE51E-387B-4770-972D-01DF0923F70C}"/>
              </a:ext>
            </a:extLst>
          </p:cNvPr>
          <p:cNvCxnSpPr>
            <a:cxnSpLocks/>
          </p:cNvCxnSpPr>
          <p:nvPr/>
        </p:nvCxnSpPr>
        <p:spPr bwMode="auto">
          <a:xfrm>
            <a:off x="771642" y="4070567"/>
            <a:ext cx="0" cy="1972589"/>
          </a:xfrm>
          <a:prstGeom prst="line">
            <a:avLst/>
          </a:prstGeom>
          <a:solidFill>
            <a:schemeClr val="tx2"/>
          </a:solidFill>
          <a:ln w="19050" cap="rnd"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1" name="TextBox 11">
            <a:extLst>
              <a:ext uri="{FF2B5EF4-FFF2-40B4-BE49-F238E27FC236}">
                <a16:creationId xmlns:a16="http://schemas.microsoft.com/office/drawing/2014/main" id="{889AB788-1807-46E1-A538-246BDC7EA8B0}"/>
              </a:ext>
            </a:extLst>
          </p:cNvPr>
          <p:cNvSpPr txBox="1">
            <a:spLocks noChangeArrowheads="1"/>
          </p:cNvSpPr>
          <p:nvPr>
            <p:custDataLst>
              <p:tags r:id="rId9"/>
            </p:custDataLst>
          </p:nvPr>
        </p:nvSpPr>
        <p:spPr bwMode="auto">
          <a:xfrm>
            <a:off x="1080698" y="5845619"/>
            <a:ext cx="3362146" cy="18654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gn="ctr">
              <a:lnSpc>
                <a:spcPct val="100000"/>
              </a:lnSpc>
              <a:spcBef>
                <a:spcPts val="300"/>
              </a:spcBef>
              <a:buClr>
                <a:srgbClr val="009999"/>
              </a:buClr>
              <a:tabLst>
                <a:tab pos="532866" algn="l"/>
              </a:tabLst>
            </a:pPr>
            <a:r>
              <a:rPr lang="en-US" sz="999" b="1" kern="0" dirty="0">
                <a:solidFill>
                  <a:srgbClr val="000000"/>
                </a:solidFill>
              </a:rPr>
              <a:t>Used frequency: 3,4 … 3,7 GHz (Public)</a:t>
            </a:r>
            <a:endParaRPr lang="en-US" sz="999" kern="0" dirty="0">
              <a:solidFill>
                <a:srgbClr val="000000"/>
              </a:solidFill>
            </a:endParaRPr>
          </a:p>
        </p:txBody>
      </p:sp>
      <p:sp>
        <p:nvSpPr>
          <p:cNvPr id="112" name="TextBox 11">
            <a:extLst>
              <a:ext uri="{FF2B5EF4-FFF2-40B4-BE49-F238E27FC236}">
                <a16:creationId xmlns:a16="http://schemas.microsoft.com/office/drawing/2014/main" id="{050C9A73-48E3-4880-8E31-74FF3DF9809A}"/>
              </a:ext>
            </a:extLst>
          </p:cNvPr>
          <p:cNvSpPr txBox="1">
            <a:spLocks noChangeArrowheads="1"/>
          </p:cNvSpPr>
          <p:nvPr>
            <p:custDataLst>
              <p:tags r:id="rId10"/>
            </p:custDataLst>
          </p:nvPr>
        </p:nvSpPr>
        <p:spPr bwMode="auto">
          <a:xfrm>
            <a:off x="4667859" y="5845619"/>
            <a:ext cx="3362146" cy="18654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gn="ctr">
              <a:lnSpc>
                <a:spcPct val="100000"/>
              </a:lnSpc>
              <a:spcBef>
                <a:spcPts val="300"/>
              </a:spcBef>
              <a:buClr>
                <a:srgbClr val="009999"/>
              </a:buClr>
              <a:tabLst>
                <a:tab pos="532866" algn="l"/>
              </a:tabLst>
            </a:pPr>
            <a:r>
              <a:rPr lang="en-US" sz="999" b="1" kern="0" dirty="0">
                <a:solidFill>
                  <a:srgbClr val="000000"/>
                </a:solidFill>
              </a:rPr>
              <a:t>Used frequency: 3,4 … 3,7 GHz (Public)</a:t>
            </a:r>
          </a:p>
        </p:txBody>
      </p:sp>
      <p:sp>
        <p:nvSpPr>
          <p:cNvPr id="113" name="TextBox 11">
            <a:extLst>
              <a:ext uri="{FF2B5EF4-FFF2-40B4-BE49-F238E27FC236}">
                <a16:creationId xmlns:a16="http://schemas.microsoft.com/office/drawing/2014/main" id="{3373975F-37A3-423D-B48D-A2ED4AFE3214}"/>
              </a:ext>
            </a:extLst>
          </p:cNvPr>
          <p:cNvSpPr txBox="1">
            <a:spLocks noChangeArrowheads="1"/>
          </p:cNvSpPr>
          <p:nvPr>
            <p:custDataLst>
              <p:tags r:id="rId11"/>
            </p:custDataLst>
          </p:nvPr>
        </p:nvSpPr>
        <p:spPr bwMode="auto">
          <a:xfrm>
            <a:off x="8255021" y="5845619"/>
            <a:ext cx="3362146" cy="18654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gn="ctr">
              <a:lnSpc>
                <a:spcPct val="100000"/>
              </a:lnSpc>
              <a:spcBef>
                <a:spcPts val="300"/>
              </a:spcBef>
              <a:buClr>
                <a:srgbClr val="009999"/>
              </a:buClr>
              <a:tabLst>
                <a:tab pos="532866" algn="l"/>
              </a:tabLst>
            </a:pPr>
            <a:r>
              <a:rPr lang="en-US" sz="999" b="1" kern="0" dirty="0">
                <a:solidFill>
                  <a:srgbClr val="000000"/>
                </a:solidFill>
              </a:rPr>
              <a:t>Used frequency: 3,7 … 3,8 GHz (Private)²</a:t>
            </a:r>
          </a:p>
        </p:txBody>
      </p:sp>
      <p:grpSp>
        <p:nvGrpSpPr>
          <p:cNvPr id="114" name="Gruppieren 113">
            <a:extLst>
              <a:ext uri="{FF2B5EF4-FFF2-40B4-BE49-F238E27FC236}">
                <a16:creationId xmlns:a16="http://schemas.microsoft.com/office/drawing/2014/main" id="{74BED971-FADC-4536-9ED0-2769D40BFEAB}"/>
              </a:ext>
            </a:extLst>
          </p:cNvPr>
          <p:cNvGrpSpPr/>
          <p:nvPr/>
        </p:nvGrpSpPr>
        <p:grpSpPr>
          <a:xfrm>
            <a:off x="2154755" y="3071345"/>
            <a:ext cx="1155412" cy="744343"/>
            <a:chOff x="2337882" y="3052515"/>
            <a:chExt cx="1143776" cy="736848"/>
          </a:xfrm>
        </p:grpSpPr>
        <p:grpSp>
          <p:nvGrpSpPr>
            <p:cNvPr id="115" name="Gruppieren 114">
              <a:extLst>
                <a:ext uri="{FF2B5EF4-FFF2-40B4-BE49-F238E27FC236}">
                  <a16:creationId xmlns:a16="http://schemas.microsoft.com/office/drawing/2014/main" id="{DBF7A057-F5A2-4FCD-BE87-A0A065AD579E}"/>
                </a:ext>
              </a:extLst>
            </p:cNvPr>
            <p:cNvGrpSpPr/>
            <p:nvPr/>
          </p:nvGrpSpPr>
          <p:grpSpPr>
            <a:xfrm>
              <a:off x="2337882" y="3052515"/>
              <a:ext cx="1143776" cy="736848"/>
              <a:chOff x="1115833" y="3090037"/>
              <a:chExt cx="775255" cy="499438"/>
            </a:xfrm>
          </p:grpSpPr>
          <p:sp>
            <p:nvSpPr>
              <p:cNvPr id="118" name="Grafik 21">
                <a:extLst>
                  <a:ext uri="{FF2B5EF4-FFF2-40B4-BE49-F238E27FC236}">
                    <a16:creationId xmlns:a16="http://schemas.microsoft.com/office/drawing/2014/main" id="{21E5E477-0FD8-4475-ABD9-D460AA848634}"/>
                  </a:ext>
                </a:extLst>
              </p:cNvPr>
              <p:cNvSpPr>
                <a:spLocks/>
              </p:cNvSpPr>
              <p:nvPr/>
            </p:nvSpPr>
            <p:spPr>
              <a:xfrm>
                <a:off x="1115833" y="3090037"/>
                <a:ext cx="775255" cy="496868"/>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rgbClr val="A5E1E1"/>
              </a:solidFill>
              <a:ln w="9525" cap="flat">
                <a:noFill/>
                <a:prstDash val="solid"/>
                <a:miter/>
              </a:ln>
            </p:spPr>
            <p:txBody>
              <a:bodyPr lIns="89906" tIns="46752" rIns="89906" bIns="71926" rtlCol="0" anchor="b"/>
              <a:lstStyle/>
              <a:p>
                <a:pPr algn="ctr"/>
                <a:endParaRPr lang="en-US" sz="1048" b="1" dirty="0">
                  <a:solidFill>
                    <a:prstClr val="white"/>
                  </a:solidFill>
                  <a:latin typeface="Arial"/>
                </a:endParaRPr>
              </a:p>
            </p:txBody>
          </p:sp>
          <p:sp>
            <p:nvSpPr>
              <p:cNvPr id="119" name="Freihandform: Form 118">
                <a:extLst>
                  <a:ext uri="{FF2B5EF4-FFF2-40B4-BE49-F238E27FC236}">
                    <a16:creationId xmlns:a16="http://schemas.microsoft.com/office/drawing/2014/main" id="{38A1174D-F2FB-4F0F-B4A4-49436286184A}"/>
                  </a:ext>
                </a:extLst>
              </p:cNvPr>
              <p:cNvSpPr>
                <a:spLocks/>
              </p:cNvSpPr>
              <p:nvPr/>
            </p:nvSpPr>
            <p:spPr>
              <a:xfrm>
                <a:off x="1115833" y="3090037"/>
                <a:ext cx="618262" cy="499438"/>
              </a:xfrm>
              <a:custGeom>
                <a:avLst/>
                <a:gdLst>
                  <a:gd name="connsiteX0" fmla="*/ 437420 w 618262"/>
                  <a:gd name="connsiteY0" fmla="*/ 32 h 499438"/>
                  <a:gd name="connsiteX1" fmla="*/ 615797 w 618262"/>
                  <a:gd name="connsiteY1" fmla="*/ 120052 h 499438"/>
                  <a:gd name="connsiteX2" fmla="*/ 618262 w 618262"/>
                  <a:gd name="connsiteY2" fmla="*/ 128406 h 499438"/>
                  <a:gd name="connsiteX3" fmla="*/ 114429 w 618262"/>
                  <a:gd name="connsiteY3" fmla="*/ 499438 h 499438"/>
                  <a:gd name="connsiteX4" fmla="*/ 105928 w 618262"/>
                  <a:gd name="connsiteY4" fmla="*/ 499438 h 499438"/>
                  <a:gd name="connsiteX5" fmla="*/ 0 w 618262"/>
                  <a:gd name="connsiteY5" fmla="*/ 379414 h 499438"/>
                  <a:gd name="connsiteX6" fmla="*/ 92150 w 618262"/>
                  <a:gd name="connsiteY6" fmla="*/ 277362 h 499438"/>
                  <a:gd name="connsiteX7" fmla="*/ 242091 w 618262"/>
                  <a:gd name="connsiteY7" fmla="*/ 133869 h 499438"/>
                  <a:gd name="connsiteX8" fmla="*/ 437420 w 618262"/>
                  <a:gd name="connsiteY8" fmla="*/ 32 h 4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8262" h="499438">
                    <a:moveTo>
                      <a:pt x="437420" y="32"/>
                    </a:moveTo>
                    <a:cubicBezTo>
                      <a:pt x="437420" y="32"/>
                      <a:pt x="561689" y="-5256"/>
                      <a:pt x="615797" y="120052"/>
                    </a:cubicBezTo>
                    <a:lnTo>
                      <a:pt x="618262" y="128406"/>
                    </a:lnTo>
                    <a:lnTo>
                      <a:pt x="114429" y="499438"/>
                    </a:lnTo>
                    <a:lnTo>
                      <a:pt x="105928" y="499438"/>
                    </a:lnTo>
                    <a:cubicBezTo>
                      <a:pt x="105928" y="499438"/>
                      <a:pt x="0" y="493940"/>
                      <a:pt x="0" y="379414"/>
                    </a:cubicBezTo>
                    <a:cubicBezTo>
                      <a:pt x="0" y="379414"/>
                      <a:pt x="0" y="292515"/>
                      <a:pt x="92150" y="277362"/>
                    </a:cubicBezTo>
                    <a:cubicBezTo>
                      <a:pt x="92150" y="277362"/>
                      <a:pt x="85278" y="133869"/>
                      <a:pt x="242091" y="133869"/>
                    </a:cubicBezTo>
                    <a:cubicBezTo>
                      <a:pt x="242091" y="133869"/>
                      <a:pt x="286105" y="32"/>
                      <a:pt x="437420" y="32"/>
                    </a:cubicBezTo>
                    <a:close/>
                  </a:path>
                </a:pathLst>
              </a:custGeom>
              <a:solidFill>
                <a:srgbClr val="32A0A0"/>
              </a:solidFill>
              <a:ln w="9525" cap="flat">
                <a:noFill/>
                <a:prstDash val="solid"/>
                <a:miter/>
              </a:ln>
            </p:spPr>
            <p:txBody>
              <a:bodyPr wrap="square" lIns="89906" tIns="46752" rIns="89906" bIns="71926" rtlCol="0" anchor="b">
                <a:noAutofit/>
              </a:bodyPr>
              <a:lstStyle/>
              <a:p>
                <a:pPr algn="ctr"/>
                <a:endParaRPr lang="en-US" sz="1048" b="1" dirty="0">
                  <a:solidFill>
                    <a:prstClr val="white"/>
                  </a:solidFill>
                  <a:latin typeface="Arial"/>
                </a:endParaRPr>
              </a:p>
            </p:txBody>
          </p:sp>
        </p:grpSp>
        <p:sp>
          <p:nvSpPr>
            <p:cNvPr id="116" name="Textfeld 115">
              <a:extLst>
                <a:ext uri="{FF2B5EF4-FFF2-40B4-BE49-F238E27FC236}">
                  <a16:creationId xmlns:a16="http://schemas.microsoft.com/office/drawing/2014/main" id="{77493239-0A99-47F6-B65B-8BD0F66EE65B}"/>
                </a:ext>
              </a:extLst>
            </p:cNvPr>
            <p:cNvSpPr txBox="1"/>
            <p:nvPr/>
          </p:nvSpPr>
          <p:spPr>
            <a:xfrm rot="19443863">
              <a:off x="2476814" y="3247326"/>
              <a:ext cx="613745" cy="276999"/>
            </a:xfrm>
            <a:prstGeom prst="rect">
              <a:avLst/>
            </a:prstGeom>
            <a:noFill/>
          </p:spPr>
          <p:txBody>
            <a:bodyPr wrap="square" lIns="0" tIns="0" rIns="0" bIns="0" rtlCol="0">
              <a:spAutoFit/>
            </a:bodyPr>
            <a:lstStyle/>
            <a:p>
              <a:pPr algn="ctr"/>
              <a:r>
                <a:rPr lang="en-US" sz="900" b="1" dirty="0">
                  <a:solidFill>
                    <a:prstClr val="white"/>
                  </a:solidFill>
                  <a:latin typeface="Arial"/>
                  <a:ea typeface="Arial Unicode MS" panose="020B0604020202020204" pitchFamily="34" charset="-128"/>
                  <a:cs typeface="Arial Unicode MS" panose="020B0604020202020204" pitchFamily="34" charset="-128"/>
                </a:rPr>
                <a:t>Control plane</a:t>
              </a:r>
            </a:p>
          </p:txBody>
        </p:sp>
        <p:sp>
          <p:nvSpPr>
            <p:cNvPr id="117" name="Textfeld 116">
              <a:extLst>
                <a:ext uri="{FF2B5EF4-FFF2-40B4-BE49-F238E27FC236}">
                  <a16:creationId xmlns:a16="http://schemas.microsoft.com/office/drawing/2014/main" id="{F2728963-6E59-45C1-BD7E-92D3610E728B}"/>
                </a:ext>
              </a:extLst>
            </p:cNvPr>
            <p:cNvSpPr txBox="1"/>
            <p:nvPr/>
          </p:nvSpPr>
          <p:spPr>
            <a:xfrm rot="19405927">
              <a:off x="2716594" y="3457695"/>
              <a:ext cx="641434" cy="246221"/>
            </a:xfrm>
            <a:prstGeom prst="rect">
              <a:avLst/>
            </a:prstGeom>
            <a:noFill/>
          </p:spPr>
          <p:txBody>
            <a:bodyPr wrap="square" lIns="0" tIns="0" rIns="0" bIns="0" rtlCol="0">
              <a:noAutofit/>
            </a:bodyPr>
            <a:lstStyle/>
            <a:p>
              <a:pPr algn="ctr"/>
              <a:r>
                <a:rPr lang="en-US" sz="900" b="1" dirty="0">
                  <a:solidFill>
                    <a:srgbClr val="3C464B"/>
                  </a:solidFill>
                  <a:latin typeface="Arial"/>
                  <a:ea typeface="Arial Unicode MS" panose="020B0604020202020204" pitchFamily="34" charset="-128"/>
                  <a:cs typeface="Arial Unicode MS" panose="020B0604020202020204" pitchFamily="34" charset="-128"/>
                </a:rPr>
                <a:t>User plane</a:t>
              </a:r>
            </a:p>
          </p:txBody>
        </p:sp>
      </p:grpSp>
      <p:sp>
        <p:nvSpPr>
          <p:cNvPr id="120" name="Grafik 21">
            <a:extLst>
              <a:ext uri="{FF2B5EF4-FFF2-40B4-BE49-F238E27FC236}">
                <a16:creationId xmlns:a16="http://schemas.microsoft.com/office/drawing/2014/main" id="{61E5B07B-848E-4271-A8BC-4EEE0FA4EB1A}"/>
              </a:ext>
            </a:extLst>
          </p:cNvPr>
          <p:cNvSpPr>
            <a:spLocks/>
          </p:cNvSpPr>
          <p:nvPr/>
        </p:nvSpPr>
        <p:spPr>
          <a:xfrm>
            <a:off x="5779134" y="3071345"/>
            <a:ext cx="1155412" cy="740513"/>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rgbClr val="32A0A0"/>
          </a:solidFill>
          <a:ln w="9525" cap="flat">
            <a:noFill/>
            <a:prstDash val="solid"/>
            <a:miter/>
          </a:ln>
        </p:spPr>
        <p:txBody>
          <a:bodyPr lIns="89906" tIns="46752" rIns="89906" bIns="71926" rtlCol="0" anchor="b"/>
          <a:lstStyle/>
          <a:p>
            <a:pPr algn="ctr"/>
            <a:endParaRPr lang="en-US" sz="1048" b="1" dirty="0">
              <a:solidFill>
                <a:prstClr val="white"/>
              </a:solidFill>
              <a:latin typeface="Arial"/>
            </a:endParaRPr>
          </a:p>
        </p:txBody>
      </p:sp>
      <p:sp>
        <p:nvSpPr>
          <p:cNvPr id="121" name="Textfeld 120">
            <a:extLst>
              <a:ext uri="{FF2B5EF4-FFF2-40B4-BE49-F238E27FC236}">
                <a16:creationId xmlns:a16="http://schemas.microsoft.com/office/drawing/2014/main" id="{785DD046-A4DD-40FC-A741-DF175A9CA23C}"/>
              </a:ext>
            </a:extLst>
          </p:cNvPr>
          <p:cNvSpPr txBox="1">
            <a:spLocks/>
          </p:cNvSpPr>
          <p:nvPr/>
        </p:nvSpPr>
        <p:spPr>
          <a:xfrm>
            <a:off x="6046848" y="3408047"/>
            <a:ext cx="619989" cy="279817"/>
          </a:xfrm>
          <a:prstGeom prst="rect">
            <a:avLst/>
          </a:prstGeom>
          <a:noFill/>
        </p:spPr>
        <p:txBody>
          <a:bodyPr wrap="square" lIns="0" tIns="0" rIns="0" bIns="0" rtlCol="0">
            <a:spAutoFit/>
          </a:bodyPr>
          <a:lstStyle/>
          <a:p>
            <a:pPr algn="ctr"/>
            <a:r>
              <a:rPr lang="en-US" sz="900" b="1" dirty="0">
                <a:solidFill>
                  <a:prstClr val="white"/>
                </a:solidFill>
                <a:latin typeface="Arial"/>
                <a:ea typeface="Arial Unicode MS" panose="020B0604020202020204" pitchFamily="34" charset="-128"/>
                <a:cs typeface="Arial Unicode MS" panose="020B0604020202020204" pitchFamily="34" charset="-128"/>
              </a:rPr>
              <a:t>Control plane</a:t>
            </a:r>
          </a:p>
        </p:txBody>
      </p:sp>
      <p:sp>
        <p:nvSpPr>
          <p:cNvPr id="122" name="Grafik 21">
            <a:extLst>
              <a:ext uri="{FF2B5EF4-FFF2-40B4-BE49-F238E27FC236}">
                <a16:creationId xmlns:a16="http://schemas.microsoft.com/office/drawing/2014/main" id="{1F99E98E-F52E-4A94-92D5-34EBD875316B}"/>
              </a:ext>
            </a:extLst>
          </p:cNvPr>
          <p:cNvSpPr>
            <a:spLocks/>
          </p:cNvSpPr>
          <p:nvPr/>
        </p:nvSpPr>
        <p:spPr>
          <a:xfrm>
            <a:off x="9390552" y="4232038"/>
            <a:ext cx="1214888" cy="765945"/>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chemeClr val="bg1"/>
          </a:solidFill>
          <a:ln w="9525" cap="flat">
            <a:noFill/>
            <a:prstDash val="solid"/>
            <a:miter/>
          </a:ln>
        </p:spPr>
        <p:txBody>
          <a:bodyPr lIns="89906" tIns="46752" rIns="89906" bIns="71926" rtlCol="0" anchor="b"/>
          <a:lstStyle/>
          <a:p>
            <a:pPr algn="ctr"/>
            <a:endParaRPr lang="en-US" sz="999" dirty="0">
              <a:solidFill>
                <a:prstClr val="white"/>
              </a:solidFill>
              <a:latin typeface="Arial"/>
            </a:endParaRPr>
          </a:p>
        </p:txBody>
      </p:sp>
      <p:grpSp>
        <p:nvGrpSpPr>
          <p:cNvPr id="123" name="Gruppieren 122">
            <a:extLst>
              <a:ext uri="{FF2B5EF4-FFF2-40B4-BE49-F238E27FC236}">
                <a16:creationId xmlns:a16="http://schemas.microsoft.com/office/drawing/2014/main" id="{E039288F-5142-42CC-ADBE-BFF4D22C0A56}"/>
              </a:ext>
            </a:extLst>
          </p:cNvPr>
          <p:cNvGrpSpPr>
            <a:grpSpLocks/>
          </p:cNvGrpSpPr>
          <p:nvPr/>
        </p:nvGrpSpPr>
        <p:grpSpPr>
          <a:xfrm>
            <a:off x="9427109" y="4232039"/>
            <a:ext cx="1155412" cy="744343"/>
            <a:chOff x="2337882" y="3052515"/>
            <a:chExt cx="1143776" cy="736848"/>
          </a:xfrm>
        </p:grpSpPr>
        <p:grpSp>
          <p:nvGrpSpPr>
            <p:cNvPr id="124" name="Gruppieren 123">
              <a:extLst>
                <a:ext uri="{FF2B5EF4-FFF2-40B4-BE49-F238E27FC236}">
                  <a16:creationId xmlns:a16="http://schemas.microsoft.com/office/drawing/2014/main" id="{5AA0F32F-4CAE-4C45-85C2-87BDC4370C3F}"/>
                </a:ext>
              </a:extLst>
            </p:cNvPr>
            <p:cNvGrpSpPr/>
            <p:nvPr/>
          </p:nvGrpSpPr>
          <p:grpSpPr>
            <a:xfrm>
              <a:off x="2337882" y="3052515"/>
              <a:ext cx="1143776" cy="736848"/>
              <a:chOff x="1115833" y="3090037"/>
              <a:chExt cx="775255" cy="499438"/>
            </a:xfrm>
          </p:grpSpPr>
          <p:sp>
            <p:nvSpPr>
              <p:cNvPr id="127" name="Grafik 21">
                <a:extLst>
                  <a:ext uri="{FF2B5EF4-FFF2-40B4-BE49-F238E27FC236}">
                    <a16:creationId xmlns:a16="http://schemas.microsoft.com/office/drawing/2014/main" id="{A11BDBB4-6B5F-48E1-8666-C163C1A7EE72}"/>
                  </a:ext>
                </a:extLst>
              </p:cNvPr>
              <p:cNvSpPr>
                <a:spLocks/>
              </p:cNvSpPr>
              <p:nvPr/>
            </p:nvSpPr>
            <p:spPr>
              <a:xfrm>
                <a:off x="1115833" y="3090037"/>
                <a:ext cx="775255" cy="496868"/>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rgbClr val="A5E1E1"/>
              </a:solidFill>
              <a:ln w="9525" cap="flat">
                <a:noFill/>
                <a:prstDash val="solid"/>
                <a:miter/>
              </a:ln>
            </p:spPr>
            <p:txBody>
              <a:bodyPr lIns="89906" tIns="46752" rIns="89906" bIns="71926" rtlCol="0" anchor="b"/>
              <a:lstStyle/>
              <a:p>
                <a:pPr algn="ctr"/>
                <a:endParaRPr lang="en-US" sz="1048" b="1" dirty="0">
                  <a:solidFill>
                    <a:prstClr val="white"/>
                  </a:solidFill>
                  <a:latin typeface="Arial"/>
                </a:endParaRPr>
              </a:p>
            </p:txBody>
          </p:sp>
          <p:sp>
            <p:nvSpPr>
              <p:cNvPr id="128" name="Freihandform: Form 127">
                <a:extLst>
                  <a:ext uri="{FF2B5EF4-FFF2-40B4-BE49-F238E27FC236}">
                    <a16:creationId xmlns:a16="http://schemas.microsoft.com/office/drawing/2014/main" id="{3E44A3A0-C890-4A0D-A537-25CD5088C15B}"/>
                  </a:ext>
                </a:extLst>
              </p:cNvPr>
              <p:cNvSpPr>
                <a:spLocks/>
              </p:cNvSpPr>
              <p:nvPr/>
            </p:nvSpPr>
            <p:spPr>
              <a:xfrm>
                <a:off x="1115833" y="3090037"/>
                <a:ext cx="618262" cy="499438"/>
              </a:xfrm>
              <a:custGeom>
                <a:avLst/>
                <a:gdLst>
                  <a:gd name="connsiteX0" fmla="*/ 437420 w 618262"/>
                  <a:gd name="connsiteY0" fmla="*/ 32 h 499438"/>
                  <a:gd name="connsiteX1" fmla="*/ 615797 w 618262"/>
                  <a:gd name="connsiteY1" fmla="*/ 120052 h 499438"/>
                  <a:gd name="connsiteX2" fmla="*/ 618262 w 618262"/>
                  <a:gd name="connsiteY2" fmla="*/ 128406 h 499438"/>
                  <a:gd name="connsiteX3" fmla="*/ 114429 w 618262"/>
                  <a:gd name="connsiteY3" fmla="*/ 499438 h 499438"/>
                  <a:gd name="connsiteX4" fmla="*/ 105928 w 618262"/>
                  <a:gd name="connsiteY4" fmla="*/ 499438 h 499438"/>
                  <a:gd name="connsiteX5" fmla="*/ 0 w 618262"/>
                  <a:gd name="connsiteY5" fmla="*/ 379414 h 499438"/>
                  <a:gd name="connsiteX6" fmla="*/ 92150 w 618262"/>
                  <a:gd name="connsiteY6" fmla="*/ 277362 h 499438"/>
                  <a:gd name="connsiteX7" fmla="*/ 242091 w 618262"/>
                  <a:gd name="connsiteY7" fmla="*/ 133869 h 499438"/>
                  <a:gd name="connsiteX8" fmla="*/ 437420 w 618262"/>
                  <a:gd name="connsiteY8" fmla="*/ 32 h 4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8262" h="499438">
                    <a:moveTo>
                      <a:pt x="437420" y="32"/>
                    </a:moveTo>
                    <a:cubicBezTo>
                      <a:pt x="437420" y="32"/>
                      <a:pt x="561689" y="-5256"/>
                      <a:pt x="615797" y="120052"/>
                    </a:cubicBezTo>
                    <a:lnTo>
                      <a:pt x="618262" y="128406"/>
                    </a:lnTo>
                    <a:lnTo>
                      <a:pt x="114429" y="499438"/>
                    </a:lnTo>
                    <a:lnTo>
                      <a:pt x="105928" y="499438"/>
                    </a:lnTo>
                    <a:cubicBezTo>
                      <a:pt x="105928" y="499438"/>
                      <a:pt x="0" y="493940"/>
                      <a:pt x="0" y="379414"/>
                    </a:cubicBezTo>
                    <a:cubicBezTo>
                      <a:pt x="0" y="379414"/>
                      <a:pt x="0" y="292515"/>
                      <a:pt x="92150" y="277362"/>
                    </a:cubicBezTo>
                    <a:cubicBezTo>
                      <a:pt x="92150" y="277362"/>
                      <a:pt x="85278" y="133869"/>
                      <a:pt x="242091" y="133869"/>
                    </a:cubicBezTo>
                    <a:cubicBezTo>
                      <a:pt x="242091" y="133869"/>
                      <a:pt x="286105" y="32"/>
                      <a:pt x="437420" y="32"/>
                    </a:cubicBezTo>
                    <a:close/>
                  </a:path>
                </a:pathLst>
              </a:custGeom>
              <a:solidFill>
                <a:srgbClr val="32A0A0"/>
              </a:solidFill>
              <a:ln w="9525" cap="flat">
                <a:noFill/>
                <a:prstDash val="solid"/>
                <a:miter/>
              </a:ln>
            </p:spPr>
            <p:txBody>
              <a:bodyPr wrap="square" lIns="89906" tIns="46752" rIns="89906" bIns="71926" rtlCol="0" anchor="b">
                <a:noAutofit/>
              </a:bodyPr>
              <a:lstStyle/>
              <a:p>
                <a:pPr algn="ctr"/>
                <a:endParaRPr lang="en-US" sz="1048" b="1" dirty="0">
                  <a:solidFill>
                    <a:prstClr val="white"/>
                  </a:solidFill>
                  <a:latin typeface="Arial"/>
                </a:endParaRPr>
              </a:p>
            </p:txBody>
          </p:sp>
        </p:grpSp>
        <p:sp>
          <p:nvSpPr>
            <p:cNvPr id="125" name="Textfeld 124">
              <a:extLst>
                <a:ext uri="{FF2B5EF4-FFF2-40B4-BE49-F238E27FC236}">
                  <a16:creationId xmlns:a16="http://schemas.microsoft.com/office/drawing/2014/main" id="{B7123F4E-68EB-4503-B018-BDDEA8137418}"/>
                </a:ext>
              </a:extLst>
            </p:cNvPr>
            <p:cNvSpPr txBox="1"/>
            <p:nvPr/>
          </p:nvSpPr>
          <p:spPr>
            <a:xfrm rot="19443863">
              <a:off x="2476814" y="3247326"/>
              <a:ext cx="613745" cy="276999"/>
            </a:xfrm>
            <a:prstGeom prst="rect">
              <a:avLst/>
            </a:prstGeom>
            <a:noFill/>
          </p:spPr>
          <p:txBody>
            <a:bodyPr wrap="square" lIns="0" tIns="0" rIns="0" bIns="0" rtlCol="0">
              <a:spAutoFit/>
            </a:bodyPr>
            <a:lstStyle/>
            <a:p>
              <a:pPr algn="ctr"/>
              <a:r>
                <a:rPr lang="en-US" sz="900" b="1" dirty="0">
                  <a:solidFill>
                    <a:prstClr val="white"/>
                  </a:solidFill>
                  <a:latin typeface="Arial"/>
                  <a:ea typeface="Arial Unicode MS" panose="020B0604020202020204" pitchFamily="34" charset="-128"/>
                  <a:cs typeface="Arial Unicode MS" panose="020B0604020202020204" pitchFamily="34" charset="-128"/>
                </a:rPr>
                <a:t>Control plane</a:t>
              </a:r>
            </a:p>
          </p:txBody>
        </p:sp>
        <p:sp>
          <p:nvSpPr>
            <p:cNvPr id="126" name="Textfeld 125">
              <a:extLst>
                <a:ext uri="{FF2B5EF4-FFF2-40B4-BE49-F238E27FC236}">
                  <a16:creationId xmlns:a16="http://schemas.microsoft.com/office/drawing/2014/main" id="{7CC28647-E588-498D-A79F-32115A7B4A01}"/>
                </a:ext>
              </a:extLst>
            </p:cNvPr>
            <p:cNvSpPr txBox="1"/>
            <p:nvPr/>
          </p:nvSpPr>
          <p:spPr>
            <a:xfrm rot="19405927">
              <a:off x="2716594" y="3457695"/>
              <a:ext cx="641434" cy="246221"/>
            </a:xfrm>
            <a:prstGeom prst="rect">
              <a:avLst/>
            </a:prstGeom>
            <a:noFill/>
          </p:spPr>
          <p:txBody>
            <a:bodyPr wrap="square" lIns="0" tIns="0" rIns="0" bIns="0" rtlCol="0">
              <a:noAutofit/>
            </a:bodyPr>
            <a:lstStyle/>
            <a:p>
              <a:pPr algn="ctr"/>
              <a:r>
                <a:rPr lang="en-US" sz="900" b="1" dirty="0">
                  <a:solidFill>
                    <a:srgbClr val="3C464B"/>
                  </a:solidFill>
                  <a:latin typeface="Arial"/>
                  <a:ea typeface="Arial Unicode MS" panose="020B0604020202020204" pitchFamily="34" charset="-128"/>
                  <a:cs typeface="Arial Unicode MS" panose="020B0604020202020204" pitchFamily="34" charset="-128"/>
                </a:rPr>
                <a:t>User plane</a:t>
              </a:r>
            </a:p>
          </p:txBody>
        </p:sp>
      </p:grpSp>
      <p:sp>
        <p:nvSpPr>
          <p:cNvPr id="129" name="Grafik 21">
            <a:extLst>
              <a:ext uri="{FF2B5EF4-FFF2-40B4-BE49-F238E27FC236}">
                <a16:creationId xmlns:a16="http://schemas.microsoft.com/office/drawing/2014/main" id="{F2208432-E31B-439D-8C02-32AA7D92635D}"/>
              </a:ext>
            </a:extLst>
          </p:cNvPr>
          <p:cNvSpPr>
            <a:spLocks/>
          </p:cNvSpPr>
          <p:nvPr/>
        </p:nvSpPr>
        <p:spPr>
          <a:xfrm>
            <a:off x="5757876" y="4232038"/>
            <a:ext cx="1214888" cy="765945"/>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chemeClr val="bg1"/>
          </a:solidFill>
          <a:ln w="9525" cap="flat">
            <a:noFill/>
            <a:prstDash val="solid"/>
            <a:miter/>
          </a:ln>
        </p:spPr>
        <p:txBody>
          <a:bodyPr lIns="89906" tIns="46752" rIns="89906" bIns="71926" rtlCol="0" anchor="b"/>
          <a:lstStyle/>
          <a:p>
            <a:pPr algn="ctr"/>
            <a:endParaRPr lang="en-US" sz="999" dirty="0">
              <a:solidFill>
                <a:prstClr val="white"/>
              </a:solidFill>
              <a:latin typeface="Arial"/>
            </a:endParaRPr>
          </a:p>
        </p:txBody>
      </p:sp>
      <p:sp>
        <p:nvSpPr>
          <p:cNvPr id="130" name="Grafik 21">
            <a:extLst>
              <a:ext uri="{FF2B5EF4-FFF2-40B4-BE49-F238E27FC236}">
                <a16:creationId xmlns:a16="http://schemas.microsoft.com/office/drawing/2014/main" id="{42E83554-E6E2-4F2C-8D38-1D50239F02ED}"/>
              </a:ext>
            </a:extLst>
          </p:cNvPr>
          <p:cNvSpPr>
            <a:spLocks/>
          </p:cNvSpPr>
          <p:nvPr/>
        </p:nvSpPr>
        <p:spPr>
          <a:xfrm>
            <a:off x="5779134" y="4232039"/>
            <a:ext cx="1155412" cy="740513"/>
          </a:xfrm>
          <a:custGeom>
            <a:avLst/>
            <a:gdLst>
              <a:gd name="connsiteX0" fmla="*/ 286322 w 2095500"/>
              <a:gd name="connsiteY0" fmla="*/ 1349970 h 1343025"/>
              <a:gd name="connsiteX1" fmla="*/ 1688021 w 2095500"/>
              <a:gd name="connsiteY1" fmla="*/ 1349970 h 1343025"/>
              <a:gd name="connsiteX2" fmla="*/ 2104454 w 2095500"/>
              <a:gd name="connsiteY2" fmla="*/ 950967 h 1343025"/>
              <a:gd name="connsiteX3" fmla="*/ 1714024 w 2095500"/>
              <a:gd name="connsiteY3" fmla="*/ 492339 h 1343025"/>
              <a:gd name="connsiteX4" fmla="*/ 1182338 w 2095500"/>
              <a:gd name="connsiteY4" fmla="*/ 87 h 1343025"/>
              <a:gd name="connsiteX5" fmla="*/ 654368 w 2095500"/>
              <a:gd name="connsiteY5" fmla="*/ 361846 h 1343025"/>
              <a:gd name="connsiteX6" fmla="*/ 249079 w 2095500"/>
              <a:gd name="connsiteY6" fmla="*/ 749704 h 1343025"/>
              <a:gd name="connsiteX7" fmla="*/ 0 w 2095500"/>
              <a:gd name="connsiteY7" fmla="*/ 1025548 h 1343025"/>
              <a:gd name="connsiteX8" fmla="*/ 286322 w 2095500"/>
              <a:gd name="connsiteY8" fmla="*/ 1349970 h 1343025"/>
              <a:gd name="connsiteX9" fmla="*/ 286322 w 2095500"/>
              <a:gd name="connsiteY9" fmla="*/ 134997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0" h="1343025">
                <a:moveTo>
                  <a:pt x="286322" y="1349970"/>
                </a:moveTo>
                <a:cubicBezTo>
                  <a:pt x="1688021" y="1349970"/>
                  <a:pt x="1688021" y="1349970"/>
                  <a:pt x="1688021" y="1349970"/>
                </a:cubicBezTo>
                <a:cubicBezTo>
                  <a:pt x="2104454" y="1338825"/>
                  <a:pt x="2104454" y="950967"/>
                  <a:pt x="2104454" y="950967"/>
                </a:cubicBezTo>
                <a:cubicBezTo>
                  <a:pt x="2119313" y="510912"/>
                  <a:pt x="1714024" y="492339"/>
                  <a:pt x="1714024" y="492339"/>
                </a:cubicBezTo>
                <a:cubicBezTo>
                  <a:pt x="1621060" y="-18582"/>
                  <a:pt x="1182338" y="87"/>
                  <a:pt x="1182338" y="87"/>
                </a:cubicBezTo>
                <a:cubicBezTo>
                  <a:pt x="773335" y="87"/>
                  <a:pt x="654368" y="361846"/>
                  <a:pt x="654368" y="361846"/>
                </a:cubicBezTo>
                <a:cubicBezTo>
                  <a:pt x="230505" y="361846"/>
                  <a:pt x="249079" y="749704"/>
                  <a:pt x="249079" y="749704"/>
                </a:cubicBezTo>
                <a:cubicBezTo>
                  <a:pt x="0" y="790662"/>
                  <a:pt x="0" y="1025548"/>
                  <a:pt x="0" y="1025548"/>
                </a:cubicBezTo>
                <a:cubicBezTo>
                  <a:pt x="0" y="1335111"/>
                  <a:pt x="286322" y="1349970"/>
                  <a:pt x="286322" y="1349970"/>
                </a:cubicBezTo>
                <a:lnTo>
                  <a:pt x="286322" y="1349970"/>
                </a:lnTo>
                <a:close/>
              </a:path>
            </a:pathLst>
          </a:custGeom>
          <a:solidFill>
            <a:srgbClr val="A5E1E1"/>
          </a:solidFill>
          <a:ln w="9525" cap="flat">
            <a:noFill/>
            <a:prstDash val="solid"/>
            <a:miter/>
          </a:ln>
        </p:spPr>
        <p:txBody>
          <a:bodyPr lIns="89906" tIns="46752" rIns="89906" bIns="71926" rtlCol="0" anchor="b"/>
          <a:lstStyle/>
          <a:p>
            <a:pPr algn="ctr"/>
            <a:endParaRPr lang="en-US" sz="999" dirty="0">
              <a:solidFill>
                <a:prstClr val="white"/>
              </a:solidFill>
              <a:latin typeface="Arial"/>
            </a:endParaRPr>
          </a:p>
        </p:txBody>
      </p:sp>
      <p:sp>
        <p:nvSpPr>
          <p:cNvPr id="131" name="Textfeld 130">
            <a:extLst>
              <a:ext uri="{FF2B5EF4-FFF2-40B4-BE49-F238E27FC236}">
                <a16:creationId xmlns:a16="http://schemas.microsoft.com/office/drawing/2014/main" id="{BA3676A3-8CFF-4F7E-8BBB-E7A56F3AF2C7}"/>
              </a:ext>
            </a:extLst>
          </p:cNvPr>
          <p:cNvSpPr txBox="1">
            <a:spLocks/>
          </p:cNvSpPr>
          <p:nvPr/>
        </p:nvSpPr>
        <p:spPr>
          <a:xfrm>
            <a:off x="6032862" y="4595155"/>
            <a:ext cx="647960" cy="248726"/>
          </a:xfrm>
          <a:prstGeom prst="rect">
            <a:avLst/>
          </a:prstGeom>
          <a:noFill/>
        </p:spPr>
        <p:txBody>
          <a:bodyPr wrap="square" lIns="0" tIns="0" rIns="0" bIns="0" rtlCol="0">
            <a:noAutofit/>
          </a:bodyPr>
          <a:lstStyle/>
          <a:p>
            <a:pPr algn="ctr"/>
            <a:r>
              <a:rPr lang="en-US" sz="900" b="1" dirty="0">
                <a:solidFill>
                  <a:srgbClr val="3C464B"/>
                </a:solidFill>
                <a:latin typeface="Arial"/>
                <a:ea typeface="Arial Unicode MS" panose="020B0604020202020204" pitchFamily="34" charset="-128"/>
                <a:cs typeface="Arial Unicode MS" panose="020B0604020202020204" pitchFamily="34" charset="-128"/>
              </a:rPr>
              <a:t>User plane</a:t>
            </a:r>
          </a:p>
        </p:txBody>
      </p:sp>
      <p:sp>
        <p:nvSpPr>
          <p:cNvPr id="7" name="Fußzeilenplatzhalter 6">
            <a:extLst>
              <a:ext uri="{FF2B5EF4-FFF2-40B4-BE49-F238E27FC236}">
                <a16:creationId xmlns:a16="http://schemas.microsoft.com/office/drawing/2014/main" id="{A252542C-6A52-46E4-A9E1-9ED9FEF3217C}"/>
              </a:ext>
            </a:extLst>
          </p:cNvPr>
          <p:cNvSpPr>
            <a:spLocks noGrp="1"/>
          </p:cNvSpPr>
          <p:nvPr>
            <p:ph type="ftr" sz="quarter" idx="10"/>
          </p:nvPr>
        </p:nvSpPr>
        <p:spPr/>
        <p:txBody>
          <a:bodyPr/>
          <a:lstStyle/>
          <a:p>
            <a:r>
              <a:rPr lang="en-US">
                <a:solidFill>
                  <a:srgbClr val="000000"/>
                </a:solidFill>
                <a:latin typeface="Arial"/>
              </a:rPr>
              <a:t>Unrestricted © Siemens 2023</a:t>
            </a:r>
            <a:endParaRPr lang="en-US" dirty="0">
              <a:solidFill>
                <a:srgbClr val="000000"/>
              </a:solidFill>
              <a:latin typeface="Arial"/>
            </a:endParaRPr>
          </a:p>
        </p:txBody>
      </p:sp>
      <p:sp>
        <p:nvSpPr>
          <p:cNvPr id="4" name="Foliennummernplatzhalter 3">
            <a:extLst>
              <a:ext uri="{FF2B5EF4-FFF2-40B4-BE49-F238E27FC236}">
                <a16:creationId xmlns:a16="http://schemas.microsoft.com/office/drawing/2014/main" id="{211212AF-F355-465F-BB4A-E121B1596F0D}"/>
              </a:ext>
            </a:extLst>
          </p:cNvPr>
          <p:cNvSpPr>
            <a:spLocks noGrp="1"/>
          </p:cNvSpPr>
          <p:nvPr>
            <p:ph type="sldNum" sz="quarter" idx="11"/>
          </p:nvPr>
        </p:nvSpPr>
        <p:spPr/>
        <p:txBody>
          <a:bodyPr/>
          <a:lstStyle/>
          <a:p>
            <a:r>
              <a:rPr lang="en-US" dirty="0">
                <a:solidFill>
                  <a:srgbClr val="000000"/>
                </a:solidFill>
                <a:latin typeface="Arial"/>
              </a:rPr>
              <a:t>Page </a:t>
            </a:r>
            <a:fld id="{15EBE321-CBB1-4E91-BD14-37C8D44326FB}" type="slidenum">
              <a:rPr lang="en-US">
                <a:solidFill>
                  <a:srgbClr val="000000"/>
                </a:solidFill>
                <a:latin typeface="Arial"/>
              </a:rPr>
              <a:pPr/>
              <a:t>5</a:t>
            </a:fld>
            <a:endParaRPr lang="en-US" dirty="0">
              <a:solidFill>
                <a:srgbClr val="000000"/>
              </a:solidFill>
              <a:latin typeface="Arial"/>
            </a:endParaRPr>
          </a:p>
        </p:txBody>
      </p:sp>
    </p:spTree>
    <p:extLst>
      <p:ext uri="{BB962C8B-B14F-4D97-AF65-F5344CB8AC3E}">
        <p14:creationId xmlns:p14="http://schemas.microsoft.com/office/powerpoint/2010/main" val="1455653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AE599EA-0EE2-48DD-9CFC-73E49C27FEA4}"/>
              </a:ext>
            </a:extLst>
          </p:cNvPr>
          <p:cNvGraphicFramePr>
            <a:graphicFrameLocks noChangeAspect="1"/>
          </p:cNvGraphicFramePr>
          <p:nvPr>
            <p:custDataLst>
              <p:tags r:id="rId1"/>
            </p:custDataLst>
          </p:nvPr>
        </p:nvGraphicFramePr>
        <p:xfrm>
          <a:off x="4761" y="5157"/>
          <a:ext cx="1586" cy="1586"/>
        </p:xfrm>
        <a:graphic>
          <a:graphicData uri="http://schemas.openxmlformats.org/presentationml/2006/ole">
            <mc:AlternateContent xmlns:mc="http://schemas.openxmlformats.org/markup-compatibility/2006">
              <mc:Choice xmlns:v="urn:schemas-microsoft-com:vml" Requires="v">
                <p:oleObj name="think-cell Folie" r:id="rId5" imgW="663" imgH="664" progId="TCLayout.ActiveDocument.1">
                  <p:embed/>
                </p:oleObj>
              </mc:Choice>
              <mc:Fallback>
                <p:oleObj name="think-cell Folie" r:id="rId5" imgW="663" imgH="664" progId="TCLayout.ActiveDocument.1">
                  <p:embed/>
                  <p:pic>
                    <p:nvPicPr>
                      <p:cNvPr id="7" name="Objekt 6" hidden="1">
                        <a:extLst>
                          <a:ext uri="{FF2B5EF4-FFF2-40B4-BE49-F238E27FC236}">
                            <a16:creationId xmlns:a16="http://schemas.microsoft.com/office/drawing/2014/main" id="{4AE599EA-0EE2-48DD-9CFC-73E49C27FEA4}"/>
                          </a:ext>
                        </a:extLst>
                      </p:cNvPr>
                      <p:cNvPicPr/>
                      <p:nvPr/>
                    </p:nvPicPr>
                    <p:blipFill>
                      <a:blip r:embed="rId6"/>
                      <a:stretch>
                        <a:fillRect/>
                      </a:stretch>
                    </p:blipFill>
                    <p:spPr>
                      <a:xfrm>
                        <a:off x="4761" y="5157"/>
                        <a:ext cx="1586" cy="1586"/>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A43EE34-DBC1-4D6B-AD3A-717D7AF553E7}"/>
              </a:ext>
            </a:extLst>
          </p:cNvPr>
          <p:cNvSpPr/>
          <p:nvPr>
            <p:custDataLst>
              <p:tags r:id="rId2"/>
            </p:custDataLst>
          </p:nvPr>
        </p:nvSpPr>
        <p:spPr bwMode="auto">
          <a:xfrm>
            <a:off x="3175" y="3571"/>
            <a:ext cx="158584" cy="15858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pPr>
            <a:endParaRPr lang="en-US" sz="2198" b="1" dirty="0">
              <a:solidFill>
                <a:srgbClr val="000000"/>
              </a:solidFill>
              <a:latin typeface="Arial"/>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48F323C8-AD48-459F-A0DF-9467627C000C}"/>
              </a:ext>
            </a:extLst>
          </p:cNvPr>
          <p:cNvSpPr>
            <a:spLocks noGrp="1"/>
          </p:cNvSpPr>
          <p:nvPr>
            <p:ph type="title"/>
          </p:nvPr>
        </p:nvSpPr>
        <p:spPr/>
        <p:txBody>
          <a:bodyPr vert="horz"/>
          <a:lstStyle/>
          <a:p>
            <a:r>
              <a:rPr lang="en-US" dirty="0"/>
              <a:t>Siemens Industrial 5G End Devices based on Release 15 </a:t>
            </a:r>
            <a:br>
              <a:rPr lang="en-US" dirty="0"/>
            </a:br>
            <a:r>
              <a:rPr lang="en-US" b="0" dirty="0"/>
              <a:t>SCALANCE MUM856-1 direct mounted on a SIMOVE AGV</a:t>
            </a:r>
          </a:p>
        </p:txBody>
      </p:sp>
      <p:pic>
        <p:nvPicPr>
          <p:cNvPr id="8" name="Grafik 7">
            <a:extLst>
              <a:ext uri="{FF2B5EF4-FFF2-40B4-BE49-F238E27FC236}">
                <a16:creationId xmlns:a16="http://schemas.microsoft.com/office/drawing/2014/main" id="{AFC2E408-EC7A-43D3-91FD-D279532ED99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2"/>
          <a:stretch/>
        </p:blipFill>
        <p:spPr>
          <a:xfrm>
            <a:off x="629090" y="1440931"/>
            <a:ext cx="11077689" cy="4745961"/>
          </a:xfrm>
          <a:prstGeom prst="rect">
            <a:avLst/>
          </a:prstGeom>
        </p:spPr>
      </p:pic>
      <p:cxnSp>
        <p:nvCxnSpPr>
          <p:cNvPr id="13" name="Gerader Verbinder 12">
            <a:extLst>
              <a:ext uri="{FF2B5EF4-FFF2-40B4-BE49-F238E27FC236}">
                <a16:creationId xmlns:a16="http://schemas.microsoft.com/office/drawing/2014/main" id="{6BA4421A-97BB-4BFA-ACAA-A8A523828C4E}"/>
              </a:ext>
            </a:extLst>
          </p:cNvPr>
          <p:cNvCxnSpPr/>
          <p:nvPr/>
        </p:nvCxnSpPr>
        <p:spPr bwMode="auto">
          <a:xfrm>
            <a:off x="4261709" y="3321100"/>
            <a:ext cx="2589590" cy="2095970"/>
          </a:xfrm>
          <a:prstGeom prst="line">
            <a:avLst/>
          </a:prstGeom>
          <a:solidFill>
            <a:schemeClr val="tx2"/>
          </a:solidFill>
          <a:ln w="76200" cap="flat" cmpd="sng" algn="ctr">
            <a:solidFill>
              <a:schemeClr val="dk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Textfeld 11">
            <a:extLst>
              <a:ext uri="{FF2B5EF4-FFF2-40B4-BE49-F238E27FC236}">
                <a16:creationId xmlns:a16="http://schemas.microsoft.com/office/drawing/2014/main" id="{74F4F5DC-C047-4F8B-BCC9-F5369731BF91}"/>
              </a:ext>
            </a:extLst>
          </p:cNvPr>
          <p:cNvSpPr txBox="1"/>
          <p:nvPr/>
        </p:nvSpPr>
        <p:spPr>
          <a:xfrm>
            <a:off x="6672009" y="4651862"/>
            <a:ext cx="4890904" cy="1258688"/>
          </a:xfrm>
          <a:prstGeom prst="rect">
            <a:avLst/>
          </a:prstGeom>
          <a:solidFill>
            <a:schemeClr val="dk2"/>
          </a:solidFill>
          <a:ln>
            <a:noFill/>
          </a:ln>
          <a:extLst>
            <a:ext uri="{91240B29-F687-4F45-9708-019B960494DF}">
              <a14:hiddenLine xmlns:a14="http://schemas.microsoft.com/office/drawing/2010/main">
                <a:solidFill>
                  <a:schemeClr val="accent1">
                    <a:lumMod val="75000"/>
                  </a:schemeClr>
                </a:solidFill>
              </a14:hiddenLine>
            </a:ext>
          </a:extLst>
        </p:spPr>
        <p:txBody>
          <a:bodyPr vert="horz" wrap="square" lIns="71926" tIns="35962" rIns="71926" bIns="71926" rtlCol="0" anchor="ctr">
            <a:noAutofit/>
          </a:bodyPr>
          <a:lstStyle>
            <a:defPPr>
              <a:defRPr lang="de-DE"/>
            </a:defPPr>
            <a:lvl1pPr>
              <a:lnSpc>
                <a:spcPct val="110000"/>
              </a:lnSpc>
              <a:spcBef>
                <a:spcPts val="0"/>
              </a:spcBef>
              <a:defRPr b="1" i="0" u="none" baseline="0">
                <a:solidFill>
                  <a:schemeClr val="bg1"/>
                </a:solidFill>
                <a:latin typeface="Arial"/>
                <a:ea typeface="Arial Unicode MS" panose="020B0604020202020204" pitchFamily="34" charset="-128"/>
                <a:cs typeface="Arial Unicode MS" panose="020B0604020202020204" pitchFamily="34" charset="-128"/>
              </a:defRPr>
            </a:lvl1pPr>
          </a:lstStyle>
          <a:p>
            <a:r>
              <a:rPr lang="en-US" sz="1798" dirty="0">
                <a:solidFill>
                  <a:prstClr val="white"/>
                </a:solidFill>
              </a:rPr>
              <a:t>SCALANCE MUM856-1</a:t>
            </a:r>
            <a:endParaRPr lang="en-US" sz="1598" b="0" dirty="0">
              <a:solidFill>
                <a:prstClr val="white"/>
              </a:solidFill>
            </a:endParaRPr>
          </a:p>
          <a:p>
            <a:r>
              <a:rPr lang="en-US" sz="1598" b="0" dirty="0">
                <a:solidFill>
                  <a:prstClr val="white"/>
                </a:solidFill>
              </a:rPr>
              <a:t>5G User Equipment in the form of an Industrial Router, IP65, to direct mount on for example AGVs. Supporting Rel. 15 of the 5G standard. </a:t>
            </a:r>
            <a:endParaRPr lang="en-US" sz="1798" dirty="0">
              <a:solidFill>
                <a:prstClr val="white"/>
              </a:solidFill>
            </a:endParaRPr>
          </a:p>
        </p:txBody>
      </p:sp>
      <p:sp>
        <p:nvSpPr>
          <p:cNvPr id="16" name="Fußzeilenplatzhalter 2">
            <a:extLst>
              <a:ext uri="{FF2B5EF4-FFF2-40B4-BE49-F238E27FC236}">
                <a16:creationId xmlns:a16="http://schemas.microsoft.com/office/drawing/2014/main" id="{BC2C1ED2-35AE-4BB9-BA59-57160F61122F}"/>
              </a:ext>
            </a:extLst>
          </p:cNvPr>
          <p:cNvSpPr>
            <a:spLocks noGrp="1"/>
          </p:cNvSpPr>
          <p:nvPr>
            <p:ph type="ftr" sz="quarter" idx="10"/>
          </p:nvPr>
        </p:nvSpPr>
        <p:spPr>
          <a:xfrm>
            <a:off x="1061782" y="6309300"/>
            <a:ext cx="9211202" cy="546915"/>
          </a:xfrm>
        </p:spPr>
        <p:txBody>
          <a:bodyPr/>
          <a:lstStyle/>
          <a:p>
            <a:r>
              <a:rPr lang="en-US">
                <a:solidFill>
                  <a:srgbClr val="000000"/>
                </a:solidFill>
                <a:latin typeface="Arial"/>
              </a:rPr>
              <a:t>Unrestricted © Siemens 2023</a:t>
            </a:r>
            <a:endParaRPr lang="en-US" dirty="0">
              <a:solidFill>
                <a:srgbClr val="000000"/>
              </a:solidFill>
              <a:latin typeface="Arial"/>
            </a:endParaRPr>
          </a:p>
        </p:txBody>
      </p:sp>
      <p:sp>
        <p:nvSpPr>
          <p:cNvPr id="2" name="Foliennummernplatzhalter 1">
            <a:extLst>
              <a:ext uri="{FF2B5EF4-FFF2-40B4-BE49-F238E27FC236}">
                <a16:creationId xmlns:a16="http://schemas.microsoft.com/office/drawing/2014/main" id="{9A00EA12-E677-47F3-9270-43B61AE4878C}"/>
              </a:ext>
            </a:extLst>
          </p:cNvPr>
          <p:cNvSpPr>
            <a:spLocks noGrp="1"/>
          </p:cNvSpPr>
          <p:nvPr>
            <p:ph type="sldNum" sz="quarter" idx="11"/>
          </p:nvPr>
        </p:nvSpPr>
        <p:spPr/>
        <p:txBody>
          <a:bodyPr/>
          <a:lstStyle/>
          <a:p>
            <a:r>
              <a:rPr lang="en-US" dirty="0">
                <a:solidFill>
                  <a:srgbClr val="000000"/>
                </a:solidFill>
                <a:latin typeface="Arial"/>
              </a:rPr>
              <a:t>Page </a:t>
            </a:r>
            <a:fld id="{15EBE321-CBB1-4E91-BD14-37C8D44326FB}" type="slidenum">
              <a:rPr lang="en-US">
                <a:solidFill>
                  <a:srgbClr val="000000"/>
                </a:solidFill>
                <a:latin typeface="Arial"/>
              </a:rPr>
              <a:pPr/>
              <a:t>6</a:t>
            </a:fld>
            <a:endParaRPr lang="en-US" dirty="0">
              <a:solidFill>
                <a:srgbClr val="000000"/>
              </a:solidFill>
              <a:latin typeface="Arial"/>
            </a:endParaRPr>
          </a:p>
        </p:txBody>
      </p:sp>
    </p:spTree>
    <p:extLst>
      <p:ext uri="{BB962C8B-B14F-4D97-AF65-F5344CB8AC3E}">
        <p14:creationId xmlns:p14="http://schemas.microsoft.com/office/powerpoint/2010/main" val="3522610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7">
            <a:extLst>
              <a:ext uri="{FF2B5EF4-FFF2-40B4-BE49-F238E27FC236}">
                <a16:creationId xmlns:a16="http://schemas.microsoft.com/office/drawing/2014/main" id="{4C47804D-64B7-4334-BB4F-C7E53F553695}"/>
              </a:ext>
            </a:extLst>
          </p:cNvPr>
          <p:cNvSpPr>
            <a:spLocks/>
          </p:cNvSpPr>
          <p:nvPr/>
        </p:nvSpPr>
        <p:spPr bwMode="auto">
          <a:xfrm>
            <a:off x="6322141" y="1415845"/>
            <a:ext cx="5458695" cy="475159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dirty="0">
              <a:solidFill>
                <a:schemeClr val="lt1"/>
              </a:solidFill>
            </a:endParaRPr>
          </a:p>
        </p:txBody>
      </p:sp>
      <p:sp>
        <p:nvSpPr>
          <p:cNvPr id="5" name="Titel 4">
            <a:extLst>
              <a:ext uri="{FF2B5EF4-FFF2-40B4-BE49-F238E27FC236}">
                <a16:creationId xmlns:a16="http://schemas.microsoft.com/office/drawing/2014/main" id="{A54910CC-2F26-4A96-8537-03AF73F5C28B}"/>
              </a:ext>
            </a:extLst>
          </p:cNvPr>
          <p:cNvSpPr>
            <a:spLocks noGrp="1"/>
          </p:cNvSpPr>
          <p:nvPr>
            <p:ph type="title"/>
          </p:nvPr>
        </p:nvSpPr>
        <p:spPr/>
        <p:txBody>
          <a:bodyPr/>
          <a:lstStyle/>
          <a:p>
            <a:r>
              <a:rPr lang="en-US" dirty="0"/>
              <a:t>5G Use Cases</a:t>
            </a:r>
            <a:br>
              <a:rPr lang="en-US" altLang="de-DE" dirty="0"/>
            </a:br>
            <a:r>
              <a:rPr lang="en-US" altLang="de-DE" b="0" dirty="0"/>
              <a:t>Connection of automated guided vehicle system to a private 5G network</a:t>
            </a:r>
            <a:endParaRPr lang="en-US" b="0" dirty="0"/>
          </a:p>
        </p:txBody>
      </p:sp>
      <p:sp>
        <p:nvSpPr>
          <p:cNvPr id="3" name="Fußzeilenplatzhalter 2">
            <a:extLst>
              <a:ext uri="{FF2B5EF4-FFF2-40B4-BE49-F238E27FC236}">
                <a16:creationId xmlns:a16="http://schemas.microsoft.com/office/drawing/2014/main" id="{951F6185-5E86-49AA-B76B-8548C5179419}"/>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2" name="Foliennummernplatzhalter 1">
            <a:extLst>
              <a:ext uri="{FF2B5EF4-FFF2-40B4-BE49-F238E27FC236}">
                <a16:creationId xmlns:a16="http://schemas.microsoft.com/office/drawing/2014/main" id="{1E62BE68-3FAF-4454-A0F1-F2057B935AE8}"/>
              </a:ext>
            </a:extLst>
          </p:cNvPr>
          <p:cNvSpPr>
            <a:spLocks noGrp="1"/>
          </p:cNvSpPr>
          <p:nvPr>
            <p:ph type="sldNum" sz="quarter" idx="11"/>
          </p:nvPr>
        </p:nvSpPr>
        <p:spPr/>
        <p:txBody>
          <a:bodyPr/>
          <a:lstStyle/>
          <a:p>
            <a:r>
              <a:rPr lang="en-US" dirty="0"/>
              <a:t>Page </a:t>
            </a:r>
            <a:fld id="{15EBE321-CBB1-4E91-BD14-37C8D44326FB}" type="slidenum">
              <a:rPr lang="en-US" smtClean="0"/>
              <a:pPr/>
              <a:t>7</a:t>
            </a:fld>
            <a:endParaRPr lang="en-US" dirty="0"/>
          </a:p>
        </p:txBody>
      </p:sp>
      <p:graphicFrame>
        <p:nvGraphicFramePr>
          <p:cNvPr id="6" name="Table 5">
            <a:extLst>
              <a:ext uri="{FF2B5EF4-FFF2-40B4-BE49-F238E27FC236}">
                <a16:creationId xmlns:a16="http://schemas.microsoft.com/office/drawing/2014/main" id="{31DEC2E6-1C1A-4A15-9F45-1EF9D66490E0}"/>
              </a:ext>
            </a:extLst>
          </p:cNvPr>
          <p:cNvGraphicFramePr>
            <a:graphicFrameLocks noGrp="1"/>
          </p:cNvGraphicFramePr>
          <p:nvPr>
            <p:extLst>
              <p:ext uri="{D42A27DB-BD31-4B8C-83A1-F6EECF244321}">
                <p14:modId xmlns:p14="http://schemas.microsoft.com/office/powerpoint/2010/main" val="108843037"/>
              </p:ext>
            </p:extLst>
          </p:nvPr>
        </p:nvGraphicFramePr>
        <p:xfrm>
          <a:off x="411163" y="1414800"/>
          <a:ext cx="5469264" cy="3870816"/>
        </p:xfrm>
        <a:graphic>
          <a:graphicData uri="http://schemas.openxmlformats.org/drawingml/2006/table">
            <a:tbl>
              <a:tblPr firstRow="1" bandRow="1">
                <a:tableStyleId>{5C22544A-7EE6-4342-B048-85BDC9FD1C3A}</a:tableStyleId>
              </a:tblPr>
              <a:tblGrid>
                <a:gridCol w="5469264">
                  <a:extLst>
                    <a:ext uri="{9D8B030D-6E8A-4147-A177-3AD203B41FA5}">
                      <a16:colId xmlns:a16="http://schemas.microsoft.com/office/drawing/2014/main" val="20000"/>
                    </a:ext>
                  </a:extLst>
                </a:gridCol>
              </a:tblGrid>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Task</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Reliable connection of stationary and mobile participants to private industrial 5G networks</a:t>
                      </a:r>
                    </a:p>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Implementation using 5G release 15 onwards</a:t>
                      </a:r>
                      <a:br>
                        <a:rPr lang="en-US" sz="1200" dirty="0">
                          <a:solidFill>
                            <a:schemeClr val="tx2"/>
                          </a:solidFill>
                        </a:rPr>
                      </a:br>
                      <a:endParaRPr lang="en-US" sz="1200" dirty="0">
                        <a:solidFill>
                          <a:schemeClr val="tx2"/>
                        </a:solidFill>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Solution</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6463">
                <a:tc>
                  <a:txBody>
                    <a:bodyPr/>
                    <a:lstStyle/>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SCALANCE MUM856-1 with its IP65 enclosure enables the connection of different participants to private 5G networks</a:t>
                      </a:r>
                    </a:p>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Rugged design enables the mounting outside of the control cabinet and on stationary and mobile participants in harsh </a:t>
                      </a:r>
                      <a:r>
                        <a:rPr kumimoji="0" lang="en-US" sz="1200" b="0" i="0" u="none" strike="noStrike" kern="1200" cap="none" spc="0" normalizeH="0" baseline="0">
                          <a:ln>
                            <a:noFill/>
                          </a:ln>
                          <a:solidFill>
                            <a:schemeClr val="tx2"/>
                          </a:solidFill>
                          <a:effectLst/>
                          <a:uLnTx/>
                          <a:uFillTx/>
                          <a:latin typeface="+mn-lt"/>
                          <a:ea typeface="+mn-ea"/>
                          <a:cs typeface="+mn-cs"/>
                        </a:rPr>
                        <a:t>industrial environments</a:t>
                      </a:r>
                      <a:br>
                        <a:rPr kumimoji="0" lang="en-US" sz="1400" b="0" i="0" u="none" strike="noStrike" kern="1200" cap="none" spc="0" normalizeH="0" baseline="0">
                          <a:ln>
                            <a:noFill/>
                          </a:ln>
                          <a:solidFill>
                            <a:schemeClr val="tx2"/>
                          </a:solidFill>
                          <a:effectLst/>
                          <a:uLnTx/>
                          <a:uFillTx/>
                          <a:latin typeface="+mn-lt"/>
                          <a:ea typeface="+mn-ea"/>
                          <a:cs typeface="+mn-cs"/>
                        </a:rPr>
                      </a:br>
                      <a:endParaRPr kumimoji="0" lang="en-US" sz="1200" b="0" i="0" u="none" strike="noStrike" kern="1200" cap="none" spc="0" normalizeH="0" baseline="0" dirty="0">
                        <a:ln>
                          <a:noFill/>
                        </a:ln>
                        <a:solidFill>
                          <a:schemeClr val="tx2"/>
                        </a:solidFill>
                        <a:effectLst/>
                        <a:uLnTx/>
                        <a:uFillTx/>
                        <a:latin typeface="+mn-lt"/>
                        <a:ea typeface="+mn-ea"/>
                        <a:cs typeface="+mn-cs"/>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Benefits</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6463">
                <a:tc>
                  <a:txBody>
                    <a:bodyPr/>
                    <a:lstStyle/>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Benefitting from the advantages of 5G technology in private industrial networks</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Flexible utilization of a device for both public and private 5G networks – depending on configuration</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Compatible with private third-party 5G networks* (e.g., Nokia, Ericsson)</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0" name="Textfeld 9">
            <a:extLst>
              <a:ext uri="{FF2B5EF4-FFF2-40B4-BE49-F238E27FC236}">
                <a16:creationId xmlns:a16="http://schemas.microsoft.com/office/drawing/2014/main" id="{1F6B99DB-411F-43FB-9B80-49E1316411AE}"/>
              </a:ext>
            </a:extLst>
          </p:cNvPr>
          <p:cNvSpPr txBox="1"/>
          <p:nvPr/>
        </p:nvSpPr>
        <p:spPr>
          <a:xfrm>
            <a:off x="673373" y="5875998"/>
            <a:ext cx="5469264" cy="308675"/>
          </a:xfrm>
          <a:prstGeom prst="rect">
            <a:avLst/>
          </a:prstGeom>
          <a:noFill/>
        </p:spPr>
        <p:txBody>
          <a:bodyPr vert="horz" wrap="square" lIns="0" tIns="0" rIns="0" bIns="0" rtlCol="0">
            <a:noAutofit/>
          </a:bodyPr>
          <a:lstStyle/>
          <a:p>
            <a:pPr>
              <a:lnSpc>
                <a:spcPct val="110000"/>
              </a:lnSpc>
            </a:pPr>
            <a:r>
              <a:rPr lang="en-US" sz="999" dirty="0">
                <a:latin typeface="Arial"/>
                <a:ea typeface="Arial Unicode MS" panose="020B0604020202020204" pitchFamily="34" charset="-128"/>
                <a:cs typeface="Arial Unicode MS" panose="020B0604020202020204" pitchFamily="34" charset="-128"/>
              </a:rPr>
              <a:t>* Smooth integration in private third-party networks is not guaranteed; use in Nokia and Ericsson networks has been tested successfully</a:t>
            </a:r>
          </a:p>
        </p:txBody>
      </p:sp>
      <p:sp>
        <p:nvSpPr>
          <p:cNvPr id="15" name="Textfeld 14">
            <a:extLst>
              <a:ext uri="{FF2B5EF4-FFF2-40B4-BE49-F238E27FC236}">
                <a16:creationId xmlns:a16="http://schemas.microsoft.com/office/drawing/2014/main" id="{69318255-984A-4133-9DEC-6EF19CC3B843}"/>
              </a:ext>
            </a:extLst>
          </p:cNvPr>
          <p:cNvSpPr txBox="1"/>
          <p:nvPr/>
        </p:nvSpPr>
        <p:spPr>
          <a:xfrm>
            <a:off x="6362542" y="5826715"/>
            <a:ext cx="5025947" cy="307777"/>
          </a:xfrm>
          <a:prstGeom prst="rect">
            <a:avLst/>
          </a:prstGeom>
          <a:noFill/>
        </p:spPr>
        <p:txBody>
          <a:bodyPr wrap="square" lIns="0" tIns="0" rIns="0" bIns="0" rtlCol="0">
            <a:spAutoFit/>
          </a:bodyPr>
          <a:lstStyle/>
          <a:p>
            <a:pPr algn="l"/>
            <a:r>
              <a:rPr lang="en-US" sz="1000" i="1" dirty="0">
                <a:solidFill>
                  <a:schemeClr val="dk1"/>
                </a:solidFill>
              </a:rPr>
              <a:t>Please note that the SCALANCE MUM856-1 can be replaced by the SCALANCE MUM853-1 depending on the environmental and deployment circumstances </a:t>
            </a:r>
          </a:p>
        </p:txBody>
      </p:sp>
      <p:pic>
        <p:nvPicPr>
          <p:cNvPr id="26" name="Grafik 25">
            <a:extLst>
              <a:ext uri="{FF2B5EF4-FFF2-40B4-BE49-F238E27FC236}">
                <a16:creationId xmlns:a16="http://schemas.microsoft.com/office/drawing/2014/main" id="{480CF8BA-452F-5B56-45A3-BD9C8E957DD1}"/>
              </a:ext>
            </a:extLst>
          </p:cNvPr>
          <p:cNvPicPr>
            <a:picLocks noChangeAspect="1"/>
          </p:cNvPicPr>
          <p:nvPr/>
        </p:nvPicPr>
        <p:blipFill>
          <a:blip r:embed="rId3"/>
          <a:stretch>
            <a:fillRect/>
          </a:stretch>
        </p:blipFill>
        <p:spPr>
          <a:xfrm>
            <a:off x="6487399" y="1446754"/>
            <a:ext cx="5127237" cy="4373534"/>
          </a:xfrm>
          <a:prstGeom prst="rect">
            <a:avLst/>
          </a:prstGeom>
        </p:spPr>
      </p:pic>
      <p:sp>
        <p:nvSpPr>
          <p:cNvPr id="4" name="TextBox 3">
            <a:extLst>
              <a:ext uri="{FF2B5EF4-FFF2-40B4-BE49-F238E27FC236}">
                <a16:creationId xmlns:a16="http://schemas.microsoft.com/office/drawing/2014/main" id="{3DA898B9-B7D6-A17F-B878-156B9BEA4862}"/>
              </a:ext>
            </a:extLst>
          </p:cNvPr>
          <p:cNvSpPr txBox="1"/>
          <p:nvPr/>
        </p:nvSpPr>
        <p:spPr>
          <a:xfrm>
            <a:off x="10472064" y="4370250"/>
            <a:ext cx="214985" cy="92333"/>
          </a:xfrm>
          <a:prstGeom prst="rect">
            <a:avLst/>
          </a:prstGeom>
          <a:noFill/>
        </p:spPr>
        <p:txBody>
          <a:bodyPr wrap="square" lIns="0" tIns="0" rIns="0" bIns="0" rtlCol="0">
            <a:spAutoFit/>
          </a:bodyPr>
          <a:lstStyle/>
          <a:p>
            <a:pPr algn="l"/>
            <a:r>
              <a:rPr lang="en-US" sz="600" dirty="0">
                <a:latin typeface="+mj-lt"/>
              </a:rPr>
              <a:t>CPU</a:t>
            </a:r>
          </a:p>
        </p:txBody>
      </p:sp>
    </p:spTree>
    <p:extLst>
      <p:ext uri="{BB962C8B-B14F-4D97-AF65-F5344CB8AC3E}">
        <p14:creationId xmlns:p14="http://schemas.microsoft.com/office/powerpoint/2010/main" val="1522644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54910CC-2F26-4A96-8537-03AF73F5C28B}"/>
              </a:ext>
            </a:extLst>
          </p:cNvPr>
          <p:cNvSpPr>
            <a:spLocks noGrp="1"/>
          </p:cNvSpPr>
          <p:nvPr>
            <p:ph type="title"/>
          </p:nvPr>
        </p:nvSpPr>
        <p:spPr/>
        <p:txBody>
          <a:bodyPr/>
          <a:lstStyle/>
          <a:p>
            <a:r>
              <a:rPr lang="en-US" dirty="0"/>
              <a:t>5G Use Cases</a:t>
            </a:r>
            <a:br>
              <a:rPr lang="en-US" altLang="de-DE" dirty="0"/>
            </a:br>
            <a:r>
              <a:rPr lang="en-US" altLang="de-DE" b="0" dirty="0"/>
              <a:t>Redundant connectivity to company infrastructure</a:t>
            </a:r>
            <a:endParaRPr lang="en-US" b="0" dirty="0"/>
          </a:p>
        </p:txBody>
      </p:sp>
      <p:sp>
        <p:nvSpPr>
          <p:cNvPr id="3" name="Fußzeilenplatzhalter 2">
            <a:extLst>
              <a:ext uri="{FF2B5EF4-FFF2-40B4-BE49-F238E27FC236}">
                <a16:creationId xmlns:a16="http://schemas.microsoft.com/office/drawing/2014/main" id="{951F6185-5E86-49AA-B76B-8548C5179419}"/>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2" name="Foliennummernplatzhalter 1">
            <a:extLst>
              <a:ext uri="{FF2B5EF4-FFF2-40B4-BE49-F238E27FC236}">
                <a16:creationId xmlns:a16="http://schemas.microsoft.com/office/drawing/2014/main" id="{1E62BE68-3FAF-4454-A0F1-F2057B935AE8}"/>
              </a:ext>
            </a:extLst>
          </p:cNvPr>
          <p:cNvSpPr>
            <a:spLocks noGrp="1"/>
          </p:cNvSpPr>
          <p:nvPr>
            <p:ph type="sldNum" sz="quarter" idx="11"/>
          </p:nvPr>
        </p:nvSpPr>
        <p:spPr/>
        <p:txBody>
          <a:bodyPr/>
          <a:lstStyle/>
          <a:p>
            <a:r>
              <a:rPr lang="en-US" dirty="0"/>
              <a:t>Page </a:t>
            </a:r>
            <a:fld id="{15EBE321-CBB1-4E91-BD14-37C8D44326FB}" type="slidenum">
              <a:rPr lang="en-US" smtClean="0"/>
              <a:pPr/>
              <a:t>8</a:t>
            </a:fld>
            <a:endParaRPr lang="en-US" dirty="0"/>
          </a:p>
        </p:txBody>
      </p:sp>
      <p:graphicFrame>
        <p:nvGraphicFramePr>
          <p:cNvPr id="6" name="Table 5">
            <a:extLst>
              <a:ext uri="{FF2B5EF4-FFF2-40B4-BE49-F238E27FC236}">
                <a16:creationId xmlns:a16="http://schemas.microsoft.com/office/drawing/2014/main" id="{31DEC2E6-1C1A-4A15-9F45-1EF9D66490E0}"/>
              </a:ext>
            </a:extLst>
          </p:cNvPr>
          <p:cNvGraphicFramePr>
            <a:graphicFrameLocks noGrp="1"/>
          </p:cNvGraphicFramePr>
          <p:nvPr>
            <p:extLst>
              <p:ext uri="{D42A27DB-BD31-4B8C-83A1-F6EECF244321}">
                <p14:modId xmlns:p14="http://schemas.microsoft.com/office/powerpoint/2010/main" val="1203486786"/>
              </p:ext>
            </p:extLst>
          </p:nvPr>
        </p:nvGraphicFramePr>
        <p:xfrm>
          <a:off x="411163" y="1414800"/>
          <a:ext cx="5469264" cy="3947016"/>
        </p:xfrm>
        <a:graphic>
          <a:graphicData uri="http://schemas.openxmlformats.org/drawingml/2006/table">
            <a:tbl>
              <a:tblPr firstRow="1" bandRow="1">
                <a:tableStyleId>{5C22544A-7EE6-4342-B048-85BDC9FD1C3A}</a:tableStyleId>
              </a:tblPr>
              <a:tblGrid>
                <a:gridCol w="5469264">
                  <a:extLst>
                    <a:ext uri="{9D8B030D-6E8A-4147-A177-3AD203B41FA5}">
                      <a16:colId xmlns:a16="http://schemas.microsoft.com/office/drawing/2014/main" val="20000"/>
                    </a:ext>
                  </a:extLst>
                </a:gridCol>
              </a:tblGrid>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Task</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Redundancy mechanism to connect production cells to company infrastructure</a:t>
                      </a:r>
                    </a:p>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Implement security cell concept using IP segmentation and standard mechanisms</a:t>
                      </a:r>
                    </a:p>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Implementation using 5G release 15 onwards</a:t>
                      </a:r>
                      <a:br>
                        <a:rPr lang="en-US" sz="1200" dirty="0">
                          <a:solidFill>
                            <a:schemeClr val="tx2"/>
                          </a:solidFill>
                        </a:rPr>
                      </a:br>
                      <a:endParaRPr lang="en-US" sz="1200" dirty="0">
                        <a:solidFill>
                          <a:schemeClr val="tx2"/>
                        </a:solidFill>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Solution</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6463">
                <a:tc>
                  <a:txBody>
                    <a:bodyPr/>
                    <a:lstStyle/>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SCALANCE MUM853-1 with its 4 RJ45 ports and 5G interface enables the connection to fixed WAN and 5G networks</a:t>
                      </a:r>
                    </a:p>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Using IP and interface tracking, automatic switchover takes over in case of path failure</a:t>
                      </a:r>
                      <a:br>
                        <a:rPr kumimoji="0" lang="en-US" sz="1400" b="0" i="0" u="none" strike="noStrike" kern="1200" cap="none" spc="0" normalizeH="0" baseline="0" dirty="0">
                          <a:ln>
                            <a:noFill/>
                          </a:ln>
                          <a:solidFill>
                            <a:schemeClr val="tx2"/>
                          </a:solidFill>
                          <a:effectLst/>
                          <a:uLnTx/>
                          <a:uFillTx/>
                          <a:latin typeface="+mn-lt"/>
                          <a:ea typeface="+mn-ea"/>
                          <a:cs typeface="+mn-cs"/>
                        </a:rPr>
                      </a:br>
                      <a:endParaRPr kumimoji="0" lang="en-US" sz="1200" b="0" i="0" u="none" strike="noStrike" kern="1200" cap="none" spc="0" normalizeH="0" baseline="0" dirty="0">
                        <a:ln>
                          <a:noFill/>
                        </a:ln>
                        <a:solidFill>
                          <a:schemeClr val="tx2"/>
                        </a:solidFill>
                        <a:effectLst/>
                        <a:uLnTx/>
                        <a:uFillTx/>
                        <a:latin typeface="+mn-lt"/>
                        <a:ea typeface="+mn-ea"/>
                        <a:cs typeface="+mn-cs"/>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Benefits</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6463">
                <a:tc>
                  <a:txBody>
                    <a:bodyPr/>
                    <a:lstStyle/>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Redundant path without cabling</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IT/OT integration based on standard mechanisms</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Firewall and NAT integrated in 5G UE</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4" name="Group 3">
            <a:extLst>
              <a:ext uri="{FF2B5EF4-FFF2-40B4-BE49-F238E27FC236}">
                <a16:creationId xmlns:a16="http://schemas.microsoft.com/office/drawing/2014/main" id="{031CFE88-7316-2907-6864-A8F181AFE2A6}"/>
              </a:ext>
            </a:extLst>
          </p:cNvPr>
          <p:cNvGrpSpPr/>
          <p:nvPr/>
        </p:nvGrpSpPr>
        <p:grpSpPr>
          <a:xfrm>
            <a:off x="6322141" y="1415845"/>
            <a:ext cx="5458695" cy="4751593"/>
            <a:chOff x="6322141" y="1415845"/>
            <a:chExt cx="5458695" cy="4751593"/>
          </a:xfrm>
        </p:grpSpPr>
        <p:grpSp>
          <p:nvGrpSpPr>
            <p:cNvPr id="64" name="Group 63">
              <a:extLst>
                <a:ext uri="{FF2B5EF4-FFF2-40B4-BE49-F238E27FC236}">
                  <a16:creationId xmlns:a16="http://schemas.microsoft.com/office/drawing/2014/main" id="{3B5E0ECA-AAC9-CB97-2E05-4649D2EA6B83}"/>
                </a:ext>
              </a:extLst>
            </p:cNvPr>
            <p:cNvGrpSpPr/>
            <p:nvPr/>
          </p:nvGrpSpPr>
          <p:grpSpPr>
            <a:xfrm>
              <a:off x="6322141" y="1415845"/>
              <a:ext cx="5458695" cy="4751593"/>
              <a:chOff x="6322141" y="1415845"/>
              <a:chExt cx="5458695" cy="4751593"/>
            </a:xfrm>
          </p:grpSpPr>
          <p:sp>
            <p:nvSpPr>
              <p:cNvPr id="17" name="Rectangle 7">
                <a:extLst>
                  <a:ext uri="{FF2B5EF4-FFF2-40B4-BE49-F238E27FC236}">
                    <a16:creationId xmlns:a16="http://schemas.microsoft.com/office/drawing/2014/main" id="{4C47804D-64B7-4334-BB4F-C7E53F553695}"/>
                  </a:ext>
                </a:extLst>
              </p:cNvPr>
              <p:cNvSpPr>
                <a:spLocks/>
              </p:cNvSpPr>
              <p:nvPr/>
            </p:nvSpPr>
            <p:spPr bwMode="auto">
              <a:xfrm>
                <a:off x="6322141" y="1415845"/>
                <a:ext cx="5458695" cy="475159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b="1" dirty="0">
                  <a:solidFill>
                    <a:schemeClr val="tx1"/>
                  </a:solidFill>
                </a:endParaRPr>
              </a:p>
            </p:txBody>
          </p:sp>
          <p:pic>
            <p:nvPicPr>
              <p:cNvPr id="26" name="Grafik 25">
                <a:extLst>
                  <a:ext uri="{FF2B5EF4-FFF2-40B4-BE49-F238E27FC236}">
                    <a16:creationId xmlns:a16="http://schemas.microsoft.com/office/drawing/2014/main" id="{480CF8BA-452F-5B56-45A3-BD9C8E957DD1}"/>
                  </a:ext>
                </a:extLst>
              </p:cNvPr>
              <p:cNvPicPr>
                <a:picLocks noChangeAspect="1"/>
              </p:cNvPicPr>
              <p:nvPr/>
            </p:nvPicPr>
            <p:blipFill>
              <a:blip r:embed="rId3"/>
              <a:stretch>
                <a:fillRect/>
              </a:stretch>
            </p:blipFill>
            <p:spPr>
              <a:xfrm>
                <a:off x="6487399" y="1446754"/>
                <a:ext cx="5127237" cy="4373534"/>
              </a:xfrm>
              <a:prstGeom prst="rect">
                <a:avLst/>
              </a:prstGeom>
            </p:spPr>
          </p:pic>
          <p:sp>
            <p:nvSpPr>
              <p:cNvPr id="9" name="Rectangle 8">
                <a:extLst>
                  <a:ext uri="{FF2B5EF4-FFF2-40B4-BE49-F238E27FC236}">
                    <a16:creationId xmlns:a16="http://schemas.microsoft.com/office/drawing/2014/main" id="{F1C1C7C5-EBF2-BD93-F503-5723AB2154B6}"/>
                  </a:ext>
                </a:extLst>
              </p:cNvPr>
              <p:cNvSpPr/>
              <p:nvPr/>
            </p:nvSpPr>
            <p:spPr>
              <a:xfrm>
                <a:off x="9475398" y="3450431"/>
                <a:ext cx="230577" cy="185450"/>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sp>
            <p:nvSpPr>
              <p:cNvPr id="8" name="Rectangle 7">
                <a:extLst>
                  <a:ext uri="{FF2B5EF4-FFF2-40B4-BE49-F238E27FC236}">
                    <a16:creationId xmlns:a16="http://schemas.microsoft.com/office/drawing/2014/main" id="{9C932309-EF44-2D7D-AFCB-38EBD98254BD}"/>
                  </a:ext>
                </a:extLst>
              </p:cNvPr>
              <p:cNvSpPr/>
              <p:nvPr/>
            </p:nvSpPr>
            <p:spPr>
              <a:xfrm>
                <a:off x="9310688" y="3631141"/>
                <a:ext cx="442911" cy="426510"/>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pic>
            <p:nvPicPr>
              <p:cNvPr id="7" name="Picture 6">
                <a:extLst>
                  <a:ext uri="{FF2B5EF4-FFF2-40B4-BE49-F238E27FC236}">
                    <a16:creationId xmlns:a16="http://schemas.microsoft.com/office/drawing/2014/main" id="{D5628C36-7E59-3C53-A627-8423F3A2D3B5}"/>
                  </a:ext>
                </a:extLst>
              </p:cNvPr>
              <p:cNvPicPr>
                <a:picLocks noChangeAspect="1"/>
              </p:cNvPicPr>
              <p:nvPr/>
            </p:nvPicPr>
            <p:blipFill>
              <a:blip r:embed="rId4"/>
              <a:stretch>
                <a:fillRect/>
              </a:stretch>
            </p:blipFill>
            <p:spPr>
              <a:xfrm>
                <a:off x="9503973" y="3602936"/>
                <a:ext cx="137160" cy="487680"/>
              </a:xfrm>
              <a:prstGeom prst="rect">
                <a:avLst/>
              </a:prstGeom>
            </p:spPr>
          </p:pic>
          <p:sp>
            <p:nvSpPr>
              <p:cNvPr id="11" name="Rectangle 10">
                <a:extLst>
                  <a:ext uri="{FF2B5EF4-FFF2-40B4-BE49-F238E27FC236}">
                    <a16:creationId xmlns:a16="http://schemas.microsoft.com/office/drawing/2014/main" id="{4F5A99DD-6C25-9109-E2DC-AC964B598514}"/>
                  </a:ext>
                </a:extLst>
              </p:cNvPr>
              <p:cNvSpPr/>
              <p:nvPr/>
            </p:nvSpPr>
            <p:spPr>
              <a:xfrm>
                <a:off x="7853364" y="2728720"/>
                <a:ext cx="1314450" cy="681236"/>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sp>
            <p:nvSpPr>
              <p:cNvPr id="14" name="Rectangle 13">
                <a:extLst>
                  <a:ext uri="{FF2B5EF4-FFF2-40B4-BE49-F238E27FC236}">
                    <a16:creationId xmlns:a16="http://schemas.microsoft.com/office/drawing/2014/main" id="{6FA0EBEF-835D-C7D6-704B-B86204A0F483}"/>
                  </a:ext>
                </a:extLst>
              </p:cNvPr>
              <p:cNvSpPr/>
              <p:nvPr/>
            </p:nvSpPr>
            <p:spPr>
              <a:xfrm>
                <a:off x="8581364" y="1840299"/>
                <a:ext cx="1219861" cy="1262981"/>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pic>
            <p:nvPicPr>
              <p:cNvPr id="13" name="Picture 12">
                <a:extLst>
                  <a:ext uri="{FF2B5EF4-FFF2-40B4-BE49-F238E27FC236}">
                    <a16:creationId xmlns:a16="http://schemas.microsoft.com/office/drawing/2014/main" id="{FA0C4122-6BA2-027F-7198-C6239DED3524}"/>
                  </a:ext>
                </a:extLst>
              </p:cNvPr>
              <p:cNvPicPr>
                <a:picLocks noChangeAspect="1"/>
              </p:cNvPicPr>
              <p:nvPr/>
            </p:nvPicPr>
            <p:blipFill>
              <a:blip r:embed="rId5"/>
              <a:stretch>
                <a:fillRect/>
              </a:stretch>
            </p:blipFill>
            <p:spPr>
              <a:xfrm>
                <a:off x="9254608" y="1840299"/>
                <a:ext cx="2133882" cy="897946"/>
              </a:xfrm>
              <a:prstGeom prst="rect">
                <a:avLst/>
              </a:prstGeom>
            </p:spPr>
          </p:pic>
          <p:cxnSp>
            <p:nvCxnSpPr>
              <p:cNvPr id="18" name="Straight Connector 17">
                <a:extLst>
                  <a:ext uri="{FF2B5EF4-FFF2-40B4-BE49-F238E27FC236}">
                    <a16:creationId xmlns:a16="http://schemas.microsoft.com/office/drawing/2014/main" id="{5487558B-C148-F5B6-C449-9469DC752A91}"/>
                  </a:ext>
                </a:extLst>
              </p:cNvPr>
              <p:cNvCxnSpPr>
                <a:cxnSpLocks/>
              </p:cNvCxnSpPr>
              <p:nvPr/>
            </p:nvCxnSpPr>
            <p:spPr>
              <a:xfrm>
                <a:off x="9167814" y="1840299"/>
                <a:ext cx="623885" cy="0"/>
              </a:xfrm>
              <a:prstGeom prst="line">
                <a:avLst/>
              </a:prstGeom>
              <a:ln w="19050">
                <a:solidFill>
                  <a:srgbClr val="009C4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8E32D1B-2B6B-A6DC-694E-AB5E70D173E2}"/>
                  </a:ext>
                </a:extLst>
              </p:cNvPr>
              <p:cNvCxnSpPr>
                <a:cxnSpLocks/>
              </p:cNvCxnSpPr>
              <p:nvPr/>
            </p:nvCxnSpPr>
            <p:spPr>
              <a:xfrm flipV="1">
                <a:off x="9791699" y="2728719"/>
                <a:ext cx="0" cy="333569"/>
              </a:xfrm>
              <a:prstGeom prst="line">
                <a:avLst/>
              </a:prstGeom>
              <a:ln w="19050">
                <a:solidFill>
                  <a:srgbClr val="FFBC66"/>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745BAEA-CD77-610E-D5CF-209F65E75C00}"/>
                  </a:ext>
                </a:extLst>
              </p:cNvPr>
              <p:cNvCxnSpPr>
                <a:cxnSpLocks/>
              </p:cNvCxnSpPr>
              <p:nvPr/>
            </p:nvCxnSpPr>
            <p:spPr>
              <a:xfrm flipV="1">
                <a:off x="9110665" y="1633538"/>
                <a:ext cx="0" cy="2218001"/>
              </a:xfrm>
              <a:prstGeom prst="line">
                <a:avLst/>
              </a:prstGeom>
              <a:ln w="19050">
                <a:solidFill>
                  <a:srgbClr val="009C4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EBFF5D3-2BFE-12BB-6C80-85FB4BCE0F25}"/>
                  </a:ext>
                </a:extLst>
              </p:cNvPr>
              <p:cNvCxnSpPr>
                <a:cxnSpLocks/>
                <a:stCxn id="7" idx="1"/>
              </p:cNvCxnSpPr>
              <p:nvPr/>
            </p:nvCxnSpPr>
            <p:spPr>
              <a:xfrm flipH="1">
                <a:off x="9110665" y="3846776"/>
                <a:ext cx="393308" cy="4763"/>
              </a:xfrm>
              <a:prstGeom prst="line">
                <a:avLst/>
              </a:prstGeom>
              <a:ln w="19050">
                <a:solidFill>
                  <a:srgbClr val="009C4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5EAB539E-8AAF-96C8-E456-FC0358B3A6AC}"/>
                  </a:ext>
                </a:extLst>
              </p:cNvPr>
              <p:cNvSpPr/>
              <p:nvPr/>
            </p:nvSpPr>
            <p:spPr>
              <a:xfrm>
                <a:off x="6727254" y="5219699"/>
                <a:ext cx="4283646" cy="426509"/>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pic>
            <p:nvPicPr>
              <p:cNvPr id="42" name="Picture 41">
                <a:extLst>
                  <a:ext uri="{FF2B5EF4-FFF2-40B4-BE49-F238E27FC236}">
                    <a16:creationId xmlns:a16="http://schemas.microsoft.com/office/drawing/2014/main" id="{7D5DC580-111D-FF33-C137-11CBB3079505}"/>
                  </a:ext>
                </a:extLst>
              </p:cNvPr>
              <p:cNvPicPr>
                <a:picLocks noChangeAspect="1"/>
              </p:cNvPicPr>
              <p:nvPr/>
            </p:nvPicPr>
            <p:blipFill>
              <a:blip r:embed="rId6"/>
              <a:stretch>
                <a:fillRect/>
              </a:stretch>
            </p:blipFill>
            <p:spPr>
              <a:xfrm>
                <a:off x="9549693" y="3337029"/>
                <a:ext cx="45719" cy="301499"/>
              </a:xfrm>
              <a:prstGeom prst="rect">
                <a:avLst/>
              </a:prstGeom>
            </p:spPr>
          </p:pic>
          <p:pic>
            <p:nvPicPr>
              <p:cNvPr id="44" name="Picture 43">
                <a:extLst>
                  <a:ext uri="{FF2B5EF4-FFF2-40B4-BE49-F238E27FC236}">
                    <a16:creationId xmlns:a16="http://schemas.microsoft.com/office/drawing/2014/main" id="{6E149700-BB36-E891-0A3E-93EBF18BFFFC}"/>
                  </a:ext>
                </a:extLst>
              </p:cNvPr>
              <p:cNvPicPr>
                <a:picLocks noChangeAspect="1"/>
              </p:cNvPicPr>
              <p:nvPr/>
            </p:nvPicPr>
            <p:blipFill>
              <a:blip r:embed="rId7"/>
              <a:stretch>
                <a:fillRect/>
              </a:stretch>
            </p:blipFill>
            <p:spPr>
              <a:xfrm>
                <a:off x="7594283" y="4604387"/>
                <a:ext cx="518161" cy="844298"/>
              </a:xfrm>
              <a:prstGeom prst="rect">
                <a:avLst/>
              </a:prstGeom>
            </p:spPr>
          </p:pic>
          <p:pic>
            <p:nvPicPr>
              <p:cNvPr id="46" name="Picture 45">
                <a:extLst>
                  <a:ext uri="{FF2B5EF4-FFF2-40B4-BE49-F238E27FC236}">
                    <a16:creationId xmlns:a16="http://schemas.microsoft.com/office/drawing/2014/main" id="{F4F66C9A-8A02-2C88-4DDF-BE973EE7CBD3}"/>
                  </a:ext>
                </a:extLst>
              </p:cNvPr>
              <p:cNvPicPr>
                <a:picLocks noChangeAspect="1"/>
              </p:cNvPicPr>
              <p:nvPr/>
            </p:nvPicPr>
            <p:blipFill>
              <a:blip r:embed="rId8"/>
              <a:stretch>
                <a:fillRect/>
              </a:stretch>
            </p:blipFill>
            <p:spPr>
              <a:xfrm>
                <a:off x="8510589" y="4879102"/>
                <a:ext cx="350249" cy="307651"/>
              </a:xfrm>
              <a:prstGeom prst="rect">
                <a:avLst/>
              </a:prstGeom>
            </p:spPr>
          </p:pic>
          <p:pic>
            <p:nvPicPr>
              <p:cNvPr id="47" name="Picture 46">
                <a:extLst>
                  <a:ext uri="{FF2B5EF4-FFF2-40B4-BE49-F238E27FC236}">
                    <a16:creationId xmlns:a16="http://schemas.microsoft.com/office/drawing/2014/main" id="{C328A80E-C7F5-0543-8749-C5B5CD91F64F}"/>
                  </a:ext>
                </a:extLst>
              </p:cNvPr>
              <p:cNvPicPr>
                <a:picLocks noChangeAspect="1"/>
              </p:cNvPicPr>
              <p:nvPr/>
            </p:nvPicPr>
            <p:blipFill>
              <a:blip r:embed="rId8"/>
              <a:stretch>
                <a:fillRect/>
              </a:stretch>
            </p:blipFill>
            <p:spPr>
              <a:xfrm>
                <a:off x="9466008" y="4879102"/>
                <a:ext cx="350249" cy="307651"/>
              </a:xfrm>
              <a:prstGeom prst="rect">
                <a:avLst/>
              </a:prstGeom>
            </p:spPr>
          </p:pic>
          <p:sp>
            <p:nvSpPr>
              <p:cNvPr id="50" name="Rectangle 49">
                <a:extLst>
                  <a:ext uri="{FF2B5EF4-FFF2-40B4-BE49-F238E27FC236}">
                    <a16:creationId xmlns:a16="http://schemas.microsoft.com/office/drawing/2014/main" id="{06FE06CF-2793-A422-454E-05B5F3923E91}"/>
                  </a:ext>
                </a:extLst>
              </p:cNvPr>
              <p:cNvSpPr/>
              <p:nvPr/>
            </p:nvSpPr>
            <p:spPr>
              <a:xfrm>
                <a:off x="11129963" y="5148263"/>
                <a:ext cx="411447" cy="669980"/>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sp>
            <p:nvSpPr>
              <p:cNvPr id="51" name="Rectangle 50">
                <a:extLst>
                  <a:ext uri="{FF2B5EF4-FFF2-40B4-BE49-F238E27FC236}">
                    <a16:creationId xmlns:a16="http://schemas.microsoft.com/office/drawing/2014/main" id="{85A64FDC-AF64-DB43-D466-0C346168AECD}"/>
                  </a:ext>
                </a:extLst>
              </p:cNvPr>
              <p:cNvSpPr/>
              <p:nvPr/>
            </p:nvSpPr>
            <p:spPr>
              <a:xfrm>
                <a:off x="9828150" y="4868236"/>
                <a:ext cx="593277" cy="18576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sp>
            <p:nvSpPr>
              <p:cNvPr id="52" name="Rectangle 51">
                <a:extLst>
                  <a:ext uri="{FF2B5EF4-FFF2-40B4-BE49-F238E27FC236}">
                    <a16:creationId xmlns:a16="http://schemas.microsoft.com/office/drawing/2014/main" id="{8E9B4A23-9961-FC94-3082-521DC521E00E}"/>
                  </a:ext>
                </a:extLst>
              </p:cNvPr>
              <p:cNvSpPr/>
              <p:nvPr/>
            </p:nvSpPr>
            <p:spPr>
              <a:xfrm>
                <a:off x="8857795" y="4889022"/>
                <a:ext cx="593277" cy="18576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pic>
            <p:nvPicPr>
              <p:cNvPr id="49" name="Picture 48">
                <a:extLst>
                  <a:ext uri="{FF2B5EF4-FFF2-40B4-BE49-F238E27FC236}">
                    <a16:creationId xmlns:a16="http://schemas.microsoft.com/office/drawing/2014/main" id="{D15DAF97-1EF7-5629-E1BD-ED989460C477}"/>
                  </a:ext>
                </a:extLst>
              </p:cNvPr>
              <p:cNvPicPr>
                <a:picLocks noChangeAspect="1"/>
              </p:cNvPicPr>
              <p:nvPr/>
            </p:nvPicPr>
            <p:blipFill>
              <a:blip r:embed="rId9"/>
              <a:stretch>
                <a:fillRect/>
              </a:stretch>
            </p:blipFill>
            <p:spPr>
              <a:xfrm>
                <a:off x="8857328" y="4872549"/>
                <a:ext cx="362000" cy="185763"/>
              </a:xfrm>
              <a:prstGeom prst="rect">
                <a:avLst/>
              </a:prstGeom>
            </p:spPr>
          </p:pic>
          <p:sp>
            <p:nvSpPr>
              <p:cNvPr id="53" name="Rectangle 52">
                <a:extLst>
                  <a:ext uri="{FF2B5EF4-FFF2-40B4-BE49-F238E27FC236}">
                    <a16:creationId xmlns:a16="http://schemas.microsoft.com/office/drawing/2014/main" id="{CB795B5E-2BB1-859A-7998-3B45F5890085}"/>
                  </a:ext>
                </a:extLst>
              </p:cNvPr>
              <p:cNvSpPr/>
              <p:nvPr/>
            </p:nvSpPr>
            <p:spPr>
              <a:xfrm>
                <a:off x="9840043" y="4893412"/>
                <a:ext cx="593277" cy="18576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pic>
            <p:nvPicPr>
              <p:cNvPr id="54" name="Picture 53">
                <a:extLst>
                  <a:ext uri="{FF2B5EF4-FFF2-40B4-BE49-F238E27FC236}">
                    <a16:creationId xmlns:a16="http://schemas.microsoft.com/office/drawing/2014/main" id="{5CB10629-841F-1F8D-A012-5F67F6971B3B}"/>
                  </a:ext>
                </a:extLst>
              </p:cNvPr>
              <p:cNvPicPr>
                <a:picLocks noChangeAspect="1"/>
              </p:cNvPicPr>
              <p:nvPr/>
            </p:nvPicPr>
            <p:blipFill>
              <a:blip r:embed="rId9"/>
              <a:stretch>
                <a:fillRect/>
              </a:stretch>
            </p:blipFill>
            <p:spPr>
              <a:xfrm>
                <a:off x="9839576" y="4876939"/>
                <a:ext cx="362000" cy="185763"/>
              </a:xfrm>
              <a:prstGeom prst="rect">
                <a:avLst/>
              </a:prstGeom>
            </p:spPr>
          </p:pic>
          <p:sp>
            <p:nvSpPr>
              <p:cNvPr id="55" name="TextBox 54">
                <a:extLst>
                  <a:ext uri="{FF2B5EF4-FFF2-40B4-BE49-F238E27FC236}">
                    <a16:creationId xmlns:a16="http://schemas.microsoft.com/office/drawing/2014/main" id="{82F09144-7B33-9874-6011-07B7FCC1DC30}"/>
                  </a:ext>
                </a:extLst>
              </p:cNvPr>
              <p:cNvSpPr txBox="1"/>
              <p:nvPr/>
            </p:nvSpPr>
            <p:spPr>
              <a:xfrm>
                <a:off x="10472064" y="4370250"/>
                <a:ext cx="214985" cy="92333"/>
              </a:xfrm>
              <a:prstGeom prst="rect">
                <a:avLst/>
              </a:prstGeom>
              <a:noFill/>
            </p:spPr>
            <p:txBody>
              <a:bodyPr wrap="square" lIns="0" tIns="0" rIns="0" bIns="0" rtlCol="0">
                <a:spAutoFit/>
              </a:bodyPr>
              <a:lstStyle/>
              <a:p>
                <a:pPr algn="l"/>
                <a:r>
                  <a:rPr lang="en-US" sz="600" b="1" dirty="0">
                    <a:latin typeface="+mj-lt"/>
                  </a:rPr>
                  <a:t>CPU</a:t>
                </a:r>
              </a:p>
            </p:txBody>
          </p:sp>
          <p:sp>
            <p:nvSpPr>
              <p:cNvPr id="57" name="TextBox 56">
                <a:extLst>
                  <a:ext uri="{FF2B5EF4-FFF2-40B4-BE49-F238E27FC236}">
                    <a16:creationId xmlns:a16="http://schemas.microsoft.com/office/drawing/2014/main" id="{FF6AE0C0-96C0-6D29-1A9A-A9E2221E3513}"/>
                  </a:ext>
                </a:extLst>
              </p:cNvPr>
              <p:cNvSpPr txBox="1"/>
              <p:nvPr/>
            </p:nvSpPr>
            <p:spPr>
              <a:xfrm>
                <a:off x="9918309" y="3461914"/>
                <a:ext cx="437858" cy="184666"/>
              </a:xfrm>
              <a:prstGeom prst="rect">
                <a:avLst/>
              </a:prstGeom>
              <a:noFill/>
            </p:spPr>
            <p:txBody>
              <a:bodyPr wrap="square" lIns="0" tIns="0" rIns="0" bIns="0" rtlCol="0">
                <a:spAutoFit/>
              </a:bodyPr>
              <a:lstStyle/>
              <a:p>
                <a:pPr algn="l"/>
                <a:r>
                  <a:rPr lang="en-US" sz="600" b="1" dirty="0">
                    <a:latin typeface="+mj-lt"/>
                  </a:rPr>
                  <a:t>BACKUP ROUTE</a:t>
                </a:r>
              </a:p>
            </p:txBody>
          </p:sp>
          <p:sp>
            <p:nvSpPr>
              <p:cNvPr id="58" name="TextBox 57">
                <a:extLst>
                  <a:ext uri="{FF2B5EF4-FFF2-40B4-BE49-F238E27FC236}">
                    <a16:creationId xmlns:a16="http://schemas.microsoft.com/office/drawing/2014/main" id="{34B95DAD-7EF2-C137-A259-7708BB6DD124}"/>
                  </a:ext>
                </a:extLst>
              </p:cNvPr>
              <p:cNvSpPr txBox="1"/>
              <p:nvPr/>
            </p:nvSpPr>
            <p:spPr>
              <a:xfrm>
                <a:off x="8738529" y="3450495"/>
                <a:ext cx="437858" cy="184666"/>
              </a:xfrm>
              <a:prstGeom prst="rect">
                <a:avLst/>
              </a:prstGeom>
              <a:noFill/>
            </p:spPr>
            <p:txBody>
              <a:bodyPr wrap="square" lIns="0" tIns="0" rIns="0" bIns="0" rtlCol="0">
                <a:spAutoFit/>
              </a:bodyPr>
              <a:lstStyle/>
              <a:p>
                <a:pPr algn="l"/>
                <a:r>
                  <a:rPr lang="en-US" sz="600" b="1" dirty="0">
                    <a:latin typeface="+mj-lt"/>
                  </a:rPr>
                  <a:t>DEFAULT ROUTE</a:t>
                </a:r>
              </a:p>
            </p:txBody>
          </p:sp>
          <p:sp>
            <p:nvSpPr>
              <p:cNvPr id="59" name="Rectangle 58">
                <a:extLst>
                  <a:ext uri="{FF2B5EF4-FFF2-40B4-BE49-F238E27FC236}">
                    <a16:creationId xmlns:a16="http://schemas.microsoft.com/office/drawing/2014/main" id="{5772914A-4735-2451-CA3E-2BC6A6811B0B}"/>
                  </a:ext>
                </a:extLst>
              </p:cNvPr>
              <p:cNvSpPr/>
              <p:nvPr/>
            </p:nvSpPr>
            <p:spPr>
              <a:xfrm>
                <a:off x="9213534" y="3464325"/>
                <a:ext cx="300801" cy="157006"/>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b="1" dirty="0">
                  <a:solidFill>
                    <a:schemeClr val="tx1"/>
                  </a:solidFill>
                </a:endParaRPr>
              </a:p>
            </p:txBody>
          </p:sp>
          <p:sp>
            <p:nvSpPr>
              <p:cNvPr id="60" name="TextBox 59">
                <a:extLst>
                  <a:ext uri="{FF2B5EF4-FFF2-40B4-BE49-F238E27FC236}">
                    <a16:creationId xmlns:a16="http://schemas.microsoft.com/office/drawing/2014/main" id="{6BFF9ED9-F83A-FD93-4CF9-2C8CF149012A}"/>
                  </a:ext>
                </a:extLst>
              </p:cNvPr>
              <p:cNvSpPr txBox="1"/>
              <p:nvPr/>
            </p:nvSpPr>
            <p:spPr>
              <a:xfrm>
                <a:off x="10177326" y="3721268"/>
                <a:ext cx="437858" cy="92333"/>
              </a:xfrm>
              <a:prstGeom prst="rect">
                <a:avLst/>
              </a:prstGeom>
              <a:solidFill>
                <a:srgbClr val="D2D2C8"/>
              </a:solidFill>
            </p:spPr>
            <p:txBody>
              <a:bodyPr wrap="square" lIns="0" tIns="0" rIns="0" bIns="0" rtlCol="0">
                <a:spAutoFit/>
              </a:bodyPr>
              <a:lstStyle/>
              <a:p>
                <a:pPr algn="l"/>
                <a:r>
                  <a:rPr lang="en-US" sz="600" b="1" dirty="0">
                    <a:latin typeface="+mj-lt"/>
                  </a:rPr>
                  <a:t>MUM853-1</a:t>
                </a:r>
              </a:p>
            </p:txBody>
          </p:sp>
        </p:grpSp>
        <p:sp>
          <p:nvSpPr>
            <p:cNvPr id="65" name="Rectangle 64">
              <a:extLst>
                <a:ext uri="{FF2B5EF4-FFF2-40B4-BE49-F238E27FC236}">
                  <a16:creationId xmlns:a16="http://schemas.microsoft.com/office/drawing/2014/main" id="{ABC2E461-1EAA-0DDD-D778-45486F0ABFE8}"/>
                </a:ext>
              </a:extLst>
            </p:cNvPr>
            <p:cNvSpPr/>
            <p:nvPr/>
          </p:nvSpPr>
          <p:spPr>
            <a:xfrm>
              <a:off x="6605222" y="3649225"/>
              <a:ext cx="644388" cy="184666"/>
            </a:xfrm>
            <a:prstGeom prst="rect">
              <a:avLst/>
            </a:prstGeom>
            <a:solidFill>
              <a:srgbClr val="D2D2C8"/>
            </a:solidFill>
          </p:spPr>
          <p:txBody>
            <a:bodyPr wrap="square" lIns="0" tIns="0" rIns="0" bIns="0" rtlCol="0">
              <a:spAutoFit/>
            </a:bodyPr>
            <a:lstStyle/>
            <a:p>
              <a:r>
                <a:rPr lang="en-US" sz="600" b="1" dirty="0">
                  <a:latin typeface="+mj-lt"/>
                </a:rPr>
                <a:t>Production cell</a:t>
              </a:r>
            </a:p>
            <a:p>
              <a:endParaRPr lang="en-US" sz="600" b="1" dirty="0">
                <a:latin typeface="+mj-lt"/>
              </a:endParaRPr>
            </a:p>
          </p:txBody>
        </p:sp>
      </p:grpSp>
    </p:spTree>
    <p:extLst>
      <p:ext uri="{BB962C8B-B14F-4D97-AF65-F5344CB8AC3E}">
        <p14:creationId xmlns:p14="http://schemas.microsoft.com/office/powerpoint/2010/main" val="1494101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7">
            <a:extLst>
              <a:ext uri="{FF2B5EF4-FFF2-40B4-BE49-F238E27FC236}">
                <a16:creationId xmlns:a16="http://schemas.microsoft.com/office/drawing/2014/main" id="{4C47804D-64B7-4334-BB4F-C7E53F553695}"/>
              </a:ext>
            </a:extLst>
          </p:cNvPr>
          <p:cNvSpPr>
            <a:spLocks/>
          </p:cNvSpPr>
          <p:nvPr/>
        </p:nvSpPr>
        <p:spPr bwMode="auto">
          <a:xfrm>
            <a:off x="6322141" y="1415845"/>
            <a:ext cx="5458695" cy="4751593"/>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dirty="0">
              <a:solidFill>
                <a:schemeClr val="lt1"/>
              </a:solidFill>
            </a:endParaRPr>
          </a:p>
        </p:txBody>
      </p:sp>
      <p:sp>
        <p:nvSpPr>
          <p:cNvPr id="5" name="Titel 4">
            <a:extLst>
              <a:ext uri="{FF2B5EF4-FFF2-40B4-BE49-F238E27FC236}">
                <a16:creationId xmlns:a16="http://schemas.microsoft.com/office/drawing/2014/main" id="{A54910CC-2F26-4A96-8537-03AF73F5C28B}"/>
              </a:ext>
            </a:extLst>
          </p:cNvPr>
          <p:cNvSpPr>
            <a:spLocks noGrp="1"/>
          </p:cNvSpPr>
          <p:nvPr>
            <p:ph type="title"/>
          </p:nvPr>
        </p:nvSpPr>
        <p:spPr/>
        <p:txBody>
          <a:bodyPr/>
          <a:lstStyle/>
          <a:p>
            <a:r>
              <a:rPr lang="en-US" dirty="0"/>
              <a:t>5G Use Cases</a:t>
            </a:r>
            <a:br>
              <a:rPr lang="en-US" altLang="de-DE" dirty="0"/>
            </a:br>
            <a:r>
              <a:rPr lang="en-US" altLang="de-DE" b="0" dirty="0"/>
              <a:t>Local area network connectivity over routing</a:t>
            </a:r>
            <a:endParaRPr lang="en-US" b="0" dirty="0"/>
          </a:p>
        </p:txBody>
      </p:sp>
      <p:sp>
        <p:nvSpPr>
          <p:cNvPr id="3" name="Fußzeilenplatzhalter 2">
            <a:extLst>
              <a:ext uri="{FF2B5EF4-FFF2-40B4-BE49-F238E27FC236}">
                <a16:creationId xmlns:a16="http://schemas.microsoft.com/office/drawing/2014/main" id="{951F6185-5E86-49AA-B76B-8548C5179419}"/>
              </a:ext>
            </a:extLst>
          </p:cNvPr>
          <p:cNvSpPr>
            <a:spLocks noGrp="1"/>
          </p:cNvSpPr>
          <p:nvPr>
            <p:ph type="ftr" sz="quarter" idx="10"/>
          </p:nvPr>
        </p:nvSpPr>
        <p:spPr/>
        <p:txBody>
          <a:bodyPr/>
          <a:lstStyle/>
          <a:p>
            <a:pPr>
              <a:lnSpc>
                <a:spcPct val="100000"/>
              </a:lnSpc>
            </a:pPr>
            <a:r>
              <a:rPr lang="en-US"/>
              <a:t>Unrestricted © Siemens 2023</a:t>
            </a:r>
            <a:endParaRPr lang="en-US" dirty="0"/>
          </a:p>
        </p:txBody>
      </p:sp>
      <p:sp>
        <p:nvSpPr>
          <p:cNvPr id="2" name="Foliennummernplatzhalter 1">
            <a:extLst>
              <a:ext uri="{FF2B5EF4-FFF2-40B4-BE49-F238E27FC236}">
                <a16:creationId xmlns:a16="http://schemas.microsoft.com/office/drawing/2014/main" id="{1E62BE68-3FAF-4454-A0F1-F2057B935AE8}"/>
              </a:ext>
            </a:extLst>
          </p:cNvPr>
          <p:cNvSpPr>
            <a:spLocks noGrp="1"/>
          </p:cNvSpPr>
          <p:nvPr>
            <p:ph type="sldNum" sz="quarter" idx="11"/>
          </p:nvPr>
        </p:nvSpPr>
        <p:spPr/>
        <p:txBody>
          <a:bodyPr/>
          <a:lstStyle/>
          <a:p>
            <a:r>
              <a:rPr lang="en-US" dirty="0"/>
              <a:t>Page </a:t>
            </a:r>
            <a:fld id="{15EBE321-CBB1-4E91-BD14-37C8D44326FB}" type="slidenum">
              <a:rPr lang="en-US" smtClean="0"/>
              <a:pPr/>
              <a:t>9</a:t>
            </a:fld>
            <a:endParaRPr lang="en-US" dirty="0"/>
          </a:p>
        </p:txBody>
      </p:sp>
      <p:graphicFrame>
        <p:nvGraphicFramePr>
          <p:cNvPr id="6" name="Table 5">
            <a:extLst>
              <a:ext uri="{FF2B5EF4-FFF2-40B4-BE49-F238E27FC236}">
                <a16:creationId xmlns:a16="http://schemas.microsoft.com/office/drawing/2014/main" id="{31DEC2E6-1C1A-4A15-9F45-1EF9D66490E0}"/>
              </a:ext>
            </a:extLst>
          </p:cNvPr>
          <p:cNvGraphicFramePr>
            <a:graphicFrameLocks noGrp="1"/>
          </p:cNvGraphicFramePr>
          <p:nvPr>
            <p:extLst>
              <p:ext uri="{D42A27DB-BD31-4B8C-83A1-F6EECF244321}">
                <p14:modId xmlns:p14="http://schemas.microsoft.com/office/powerpoint/2010/main" val="2344007346"/>
              </p:ext>
            </p:extLst>
          </p:nvPr>
        </p:nvGraphicFramePr>
        <p:xfrm>
          <a:off x="411163" y="1414800"/>
          <a:ext cx="5469264" cy="3322176"/>
        </p:xfrm>
        <a:graphic>
          <a:graphicData uri="http://schemas.openxmlformats.org/drawingml/2006/table">
            <a:tbl>
              <a:tblPr firstRow="1" bandRow="1">
                <a:tableStyleId>{5C22544A-7EE6-4342-B048-85BDC9FD1C3A}</a:tableStyleId>
              </a:tblPr>
              <a:tblGrid>
                <a:gridCol w="5469264">
                  <a:extLst>
                    <a:ext uri="{9D8B030D-6E8A-4147-A177-3AD203B41FA5}">
                      <a16:colId xmlns:a16="http://schemas.microsoft.com/office/drawing/2014/main" val="20000"/>
                    </a:ext>
                  </a:extLst>
                </a:gridCol>
              </a:tblGrid>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Task</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Connect segmented automation cells</a:t>
                      </a:r>
                    </a:p>
                    <a:p>
                      <a:pPr marL="182563" indent="-182563">
                        <a:lnSpc>
                          <a:spcPct val="100000"/>
                        </a:lnSpc>
                        <a:spcBef>
                          <a:spcPts val="600"/>
                        </a:spcBef>
                        <a:spcAft>
                          <a:spcPts val="0"/>
                        </a:spcAft>
                        <a:buClr>
                          <a:schemeClr val="accent1"/>
                        </a:buClr>
                        <a:buFont typeface="Arial" panose="020B0604020202020204" pitchFamily="34" charset="0"/>
                        <a:buChar char="•"/>
                      </a:pPr>
                      <a:r>
                        <a:rPr lang="en-US" sz="1200" dirty="0">
                          <a:solidFill>
                            <a:schemeClr val="tx2"/>
                          </a:solidFill>
                        </a:rPr>
                        <a:t>Enable LAN connectivity between members</a:t>
                      </a:r>
                      <a:br>
                        <a:rPr lang="en-US" sz="1200" dirty="0">
                          <a:solidFill>
                            <a:schemeClr val="tx2"/>
                          </a:solidFill>
                        </a:rPr>
                      </a:br>
                      <a:endParaRPr lang="en-US" sz="1200" dirty="0">
                        <a:solidFill>
                          <a:schemeClr val="tx2"/>
                        </a:solidFill>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Solution</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6463">
                <a:tc>
                  <a:txBody>
                    <a:bodyPr/>
                    <a:lstStyle/>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SCALANCE MUM800 and SC600 devices create overlay network using VXLAN encapsulation</a:t>
                      </a:r>
                    </a:p>
                    <a:p>
                      <a:pPr marL="182563" marR="0" lvl="0" indent="-182563"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dirty="0">
                          <a:ln>
                            <a:noFill/>
                          </a:ln>
                          <a:solidFill>
                            <a:schemeClr val="tx2"/>
                          </a:solidFill>
                          <a:effectLst/>
                          <a:uLnTx/>
                          <a:uFillTx/>
                          <a:latin typeface="+mn-lt"/>
                          <a:ea typeface="+mn-ea"/>
                          <a:cs typeface="+mn-cs"/>
                        </a:rPr>
                        <a:t>No need to change IP subnets</a:t>
                      </a:r>
                      <a:br>
                        <a:rPr kumimoji="0" lang="en-US" sz="1400" b="0" i="0" u="none" strike="noStrike" kern="1200" cap="none" spc="0" normalizeH="0" baseline="0" dirty="0">
                          <a:ln>
                            <a:noFill/>
                          </a:ln>
                          <a:solidFill>
                            <a:schemeClr val="tx2"/>
                          </a:solidFill>
                          <a:effectLst/>
                          <a:uLnTx/>
                          <a:uFillTx/>
                          <a:latin typeface="+mn-lt"/>
                          <a:ea typeface="+mn-ea"/>
                          <a:cs typeface="+mn-cs"/>
                        </a:rPr>
                      </a:br>
                      <a:endParaRPr kumimoji="0" lang="en-US" sz="1200" b="0" i="0" u="none" strike="noStrike" kern="1200" cap="none" spc="0" normalizeH="0" baseline="0" dirty="0">
                        <a:ln>
                          <a:noFill/>
                        </a:ln>
                        <a:solidFill>
                          <a:schemeClr val="tx2"/>
                        </a:solidFill>
                        <a:effectLst/>
                        <a:uLnTx/>
                        <a:uFillTx/>
                        <a:latin typeface="+mn-lt"/>
                        <a:ea typeface="+mn-ea"/>
                        <a:cs typeface="+mn-cs"/>
                      </a:endParaRP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algn="l" defTabSz="914400" rtl="0" eaLnBrk="1" latinLnBrk="0" hangingPunct="1">
                        <a:lnSpc>
                          <a:spcPct val="100000"/>
                        </a:lnSpc>
                        <a:spcBef>
                          <a:spcPts val="0"/>
                        </a:spcBef>
                        <a:spcAft>
                          <a:spcPts val="0"/>
                        </a:spcAft>
                      </a:pPr>
                      <a:r>
                        <a:rPr lang="en-US" sz="1600" b="1" i="0" u="none" kern="1200" baseline="0" dirty="0">
                          <a:solidFill>
                            <a:srgbClr val="009999"/>
                          </a:solidFill>
                          <a:latin typeface="+mn-lt"/>
                          <a:ea typeface="+mn-ea"/>
                          <a:cs typeface="+mn-cs"/>
                        </a:rPr>
                        <a:t>Benefits</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6463">
                <a:tc>
                  <a:txBody>
                    <a:bodyPr/>
                    <a:lstStyle/>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By means of VXLAN in SCALANCE products, PROFINET IO can be transferred over Layer 3 networks e.g. in private 5G networks</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err="1">
                          <a:solidFill>
                            <a:schemeClr val="tx2"/>
                          </a:solidFill>
                        </a:rPr>
                        <a:t>Profinet</a:t>
                      </a:r>
                      <a:r>
                        <a:rPr lang="en-US" sz="1200" dirty="0">
                          <a:solidFill>
                            <a:schemeClr val="tx2"/>
                          </a:solidFill>
                        </a:rPr>
                        <a:t> name assignment on remote site via TIA Portal is possible</a:t>
                      </a:r>
                    </a:p>
                    <a:p>
                      <a:pPr marL="179388" marR="0" lvl="1" indent="-177800" algn="l" defTabSz="914400"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en-US" sz="1200" dirty="0">
                          <a:solidFill>
                            <a:schemeClr val="tx2"/>
                          </a:solidFill>
                        </a:rPr>
                        <a:t>VXLAN traffic can be filtered with SC-600 Bridged Firewall</a:t>
                      </a:r>
                    </a:p>
                  </a:txBody>
                  <a:tcPr marL="0" marR="91392" marT="0" marB="45696">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5" name="Textfeld 14">
            <a:extLst>
              <a:ext uri="{FF2B5EF4-FFF2-40B4-BE49-F238E27FC236}">
                <a16:creationId xmlns:a16="http://schemas.microsoft.com/office/drawing/2014/main" id="{69318255-984A-4133-9DEC-6EF19CC3B843}"/>
              </a:ext>
            </a:extLst>
          </p:cNvPr>
          <p:cNvSpPr txBox="1"/>
          <p:nvPr/>
        </p:nvSpPr>
        <p:spPr>
          <a:xfrm>
            <a:off x="6362542" y="5826715"/>
            <a:ext cx="5025947" cy="307777"/>
          </a:xfrm>
          <a:prstGeom prst="rect">
            <a:avLst/>
          </a:prstGeom>
          <a:noFill/>
        </p:spPr>
        <p:txBody>
          <a:bodyPr wrap="square" lIns="0" tIns="0" rIns="0" bIns="0" rtlCol="0">
            <a:spAutoFit/>
          </a:bodyPr>
          <a:lstStyle/>
          <a:p>
            <a:pPr algn="l"/>
            <a:r>
              <a:rPr lang="en-US" sz="1000" i="1" dirty="0">
                <a:solidFill>
                  <a:schemeClr val="dk1"/>
                </a:solidFill>
              </a:rPr>
              <a:t>Please note that the SCALANCE MUM856-1 can be replaced by the SCALANCE MUM853-1 depending on the environmental and deployment circumstances </a:t>
            </a:r>
          </a:p>
        </p:txBody>
      </p:sp>
      <p:grpSp>
        <p:nvGrpSpPr>
          <p:cNvPr id="11" name="Group 10">
            <a:extLst>
              <a:ext uri="{FF2B5EF4-FFF2-40B4-BE49-F238E27FC236}">
                <a16:creationId xmlns:a16="http://schemas.microsoft.com/office/drawing/2014/main" id="{7368E36E-AA12-9CA6-9D52-9699F482FDD3}"/>
              </a:ext>
            </a:extLst>
          </p:cNvPr>
          <p:cNvGrpSpPr/>
          <p:nvPr/>
        </p:nvGrpSpPr>
        <p:grpSpPr>
          <a:xfrm>
            <a:off x="6487869" y="1448802"/>
            <a:ext cx="5127237" cy="4373534"/>
            <a:chOff x="6487399" y="1446754"/>
            <a:chExt cx="5127237" cy="4373534"/>
          </a:xfrm>
        </p:grpSpPr>
        <p:pic>
          <p:nvPicPr>
            <p:cNvPr id="26" name="Grafik 25">
              <a:extLst>
                <a:ext uri="{FF2B5EF4-FFF2-40B4-BE49-F238E27FC236}">
                  <a16:creationId xmlns:a16="http://schemas.microsoft.com/office/drawing/2014/main" id="{480CF8BA-452F-5B56-45A3-BD9C8E957DD1}"/>
                </a:ext>
              </a:extLst>
            </p:cNvPr>
            <p:cNvPicPr>
              <a:picLocks noChangeAspect="1"/>
            </p:cNvPicPr>
            <p:nvPr/>
          </p:nvPicPr>
          <p:blipFill>
            <a:blip r:embed="rId3"/>
            <a:stretch>
              <a:fillRect/>
            </a:stretch>
          </p:blipFill>
          <p:spPr>
            <a:xfrm>
              <a:off x="6487399" y="1446754"/>
              <a:ext cx="5127237" cy="4373534"/>
            </a:xfrm>
            <a:prstGeom prst="rect">
              <a:avLst/>
            </a:prstGeom>
          </p:spPr>
        </p:pic>
        <p:sp>
          <p:nvSpPr>
            <p:cNvPr id="8" name="Rectangle 7">
              <a:extLst>
                <a:ext uri="{FF2B5EF4-FFF2-40B4-BE49-F238E27FC236}">
                  <a16:creationId xmlns:a16="http://schemas.microsoft.com/office/drawing/2014/main" id="{F1BCC00D-89A9-869E-89B6-D62C54921A03}"/>
                </a:ext>
              </a:extLst>
            </p:cNvPr>
            <p:cNvSpPr/>
            <p:nvPr/>
          </p:nvSpPr>
          <p:spPr>
            <a:xfrm>
              <a:off x="10071100" y="4464844"/>
              <a:ext cx="439738" cy="278606"/>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pic>
        <p:nvPicPr>
          <p:cNvPr id="7" name="Picture 6">
            <a:extLst>
              <a:ext uri="{FF2B5EF4-FFF2-40B4-BE49-F238E27FC236}">
                <a16:creationId xmlns:a16="http://schemas.microsoft.com/office/drawing/2014/main" id="{15E01F10-8B8A-C5E4-FD8F-E933304A8EC0}"/>
              </a:ext>
            </a:extLst>
          </p:cNvPr>
          <p:cNvPicPr>
            <a:picLocks noChangeAspect="1"/>
          </p:cNvPicPr>
          <p:nvPr/>
        </p:nvPicPr>
        <p:blipFill>
          <a:blip r:embed="rId4"/>
          <a:stretch>
            <a:fillRect/>
          </a:stretch>
        </p:blipFill>
        <p:spPr>
          <a:xfrm>
            <a:off x="10071100" y="4464844"/>
            <a:ext cx="342900" cy="304800"/>
          </a:xfrm>
          <a:prstGeom prst="rect">
            <a:avLst/>
          </a:prstGeom>
        </p:spPr>
      </p:pic>
      <p:pic>
        <p:nvPicPr>
          <p:cNvPr id="14" name="Picture 13">
            <a:extLst>
              <a:ext uri="{FF2B5EF4-FFF2-40B4-BE49-F238E27FC236}">
                <a16:creationId xmlns:a16="http://schemas.microsoft.com/office/drawing/2014/main" id="{9BE5C07F-B9E8-E588-E5EB-5EF252CDB807}"/>
              </a:ext>
            </a:extLst>
          </p:cNvPr>
          <p:cNvPicPr>
            <a:picLocks noChangeAspect="1"/>
          </p:cNvPicPr>
          <p:nvPr/>
        </p:nvPicPr>
        <p:blipFill>
          <a:blip r:embed="rId5"/>
          <a:stretch>
            <a:fillRect/>
          </a:stretch>
        </p:blipFill>
        <p:spPr>
          <a:xfrm>
            <a:off x="8312071" y="1440327"/>
            <a:ext cx="128427" cy="304800"/>
          </a:xfrm>
          <a:prstGeom prst="rect">
            <a:avLst/>
          </a:prstGeom>
        </p:spPr>
      </p:pic>
      <p:sp>
        <p:nvSpPr>
          <p:cNvPr id="19" name="TextBox 18">
            <a:extLst>
              <a:ext uri="{FF2B5EF4-FFF2-40B4-BE49-F238E27FC236}">
                <a16:creationId xmlns:a16="http://schemas.microsoft.com/office/drawing/2014/main" id="{C8CE24FA-DE3A-0F03-B941-4591810C8058}"/>
              </a:ext>
            </a:extLst>
          </p:cNvPr>
          <p:cNvSpPr txBox="1"/>
          <p:nvPr/>
        </p:nvSpPr>
        <p:spPr>
          <a:xfrm>
            <a:off x="8246863" y="1769609"/>
            <a:ext cx="258841" cy="92333"/>
          </a:xfrm>
          <a:prstGeom prst="rect">
            <a:avLst/>
          </a:prstGeom>
          <a:noFill/>
        </p:spPr>
        <p:txBody>
          <a:bodyPr wrap="square" lIns="0" tIns="0" rIns="0" bIns="0" rtlCol="0">
            <a:spAutoFit/>
          </a:bodyPr>
          <a:lstStyle/>
          <a:p>
            <a:pPr algn="l"/>
            <a:r>
              <a:rPr lang="en-US" sz="600" dirty="0">
                <a:latin typeface="+mj-lt"/>
              </a:rPr>
              <a:t>SC600</a:t>
            </a:r>
          </a:p>
        </p:txBody>
      </p:sp>
      <p:cxnSp>
        <p:nvCxnSpPr>
          <p:cNvPr id="21" name="Straight Connector 20">
            <a:extLst>
              <a:ext uri="{FF2B5EF4-FFF2-40B4-BE49-F238E27FC236}">
                <a16:creationId xmlns:a16="http://schemas.microsoft.com/office/drawing/2014/main" id="{944E1EE9-8B89-A3A0-37A9-95A1A643D471}"/>
              </a:ext>
            </a:extLst>
          </p:cNvPr>
          <p:cNvCxnSpPr>
            <a:cxnSpLocks/>
          </p:cNvCxnSpPr>
          <p:nvPr/>
        </p:nvCxnSpPr>
        <p:spPr>
          <a:xfrm flipV="1">
            <a:off x="8435735" y="1583201"/>
            <a:ext cx="255827" cy="4763"/>
          </a:xfrm>
          <a:prstGeom prst="line">
            <a:avLst/>
          </a:prstGeom>
          <a:ln w="53975" cmpd="dbl">
            <a:solidFill>
              <a:srgbClr val="FF0000"/>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8DAD82-46F3-490D-7ADA-E517CA873B83}"/>
              </a:ext>
            </a:extLst>
          </p:cNvPr>
          <p:cNvCxnSpPr>
            <a:cxnSpLocks/>
          </p:cNvCxnSpPr>
          <p:nvPr/>
        </p:nvCxnSpPr>
        <p:spPr>
          <a:xfrm flipV="1">
            <a:off x="9178930" y="1630560"/>
            <a:ext cx="0" cy="264915"/>
          </a:xfrm>
          <a:prstGeom prst="line">
            <a:avLst/>
          </a:prstGeom>
          <a:ln w="53975" cmpd="dbl">
            <a:solidFill>
              <a:srgbClr val="FF0000"/>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CF8C592-00ED-778A-3B0F-F6FC1380A54B}"/>
              </a:ext>
            </a:extLst>
          </p:cNvPr>
          <p:cNvCxnSpPr>
            <a:cxnSpLocks/>
          </p:cNvCxnSpPr>
          <p:nvPr/>
        </p:nvCxnSpPr>
        <p:spPr>
          <a:xfrm flipV="1">
            <a:off x="9178930" y="2251757"/>
            <a:ext cx="0" cy="62818"/>
          </a:xfrm>
          <a:prstGeom prst="line">
            <a:avLst/>
          </a:prstGeom>
          <a:ln w="53975" cmpd="dbl">
            <a:solidFill>
              <a:srgbClr val="FF0000"/>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DBEAD0-A290-0257-51F3-AE4B9D3B102F}"/>
              </a:ext>
            </a:extLst>
          </p:cNvPr>
          <p:cNvCxnSpPr>
            <a:cxnSpLocks/>
          </p:cNvCxnSpPr>
          <p:nvPr/>
        </p:nvCxnSpPr>
        <p:spPr>
          <a:xfrm>
            <a:off x="9576922" y="4020469"/>
            <a:ext cx="0" cy="175293"/>
          </a:xfrm>
          <a:prstGeom prst="line">
            <a:avLst/>
          </a:prstGeom>
          <a:ln w="53975" cmpd="dbl">
            <a:solidFill>
              <a:srgbClr val="FF0000"/>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AFD4009D-F64B-2BF2-A645-B576AFFADCD4}"/>
              </a:ext>
            </a:extLst>
          </p:cNvPr>
          <p:cNvGrpSpPr/>
          <p:nvPr/>
        </p:nvGrpSpPr>
        <p:grpSpPr>
          <a:xfrm>
            <a:off x="6665475" y="5567704"/>
            <a:ext cx="1019612" cy="102581"/>
            <a:chOff x="9051487" y="5691188"/>
            <a:chExt cx="1019612" cy="102581"/>
          </a:xfrm>
        </p:grpSpPr>
        <p:cxnSp>
          <p:nvCxnSpPr>
            <p:cNvPr id="43" name="Straight Connector 42">
              <a:extLst>
                <a:ext uri="{FF2B5EF4-FFF2-40B4-BE49-F238E27FC236}">
                  <a16:creationId xmlns:a16="http://schemas.microsoft.com/office/drawing/2014/main" id="{4F391873-6B40-B2AF-FAC7-090789AEF5E5}"/>
                </a:ext>
              </a:extLst>
            </p:cNvPr>
            <p:cNvCxnSpPr>
              <a:cxnSpLocks/>
            </p:cNvCxnSpPr>
            <p:nvPr/>
          </p:nvCxnSpPr>
          <p:spPr>
            <a:xfrm>
              <a:off x="9080846" y="5743268"/>
              <a:ext cx="196168" cy="0"/>
            </a:xfrm>
            <a:prstGeom prst="line">
              <a:avLst/>
            </a:prstGeom>
            <a:ln w="53975" cmpd="dbl">
              <a:solidFill>
                <a:srgbClr val="FF0000"/>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DBAE583-BB4C-4134-FE95-33387F3C8151}"/>
                </a:ext>
              </a:extLst>
            </p:cNvPr>
            <p:cNvSpPr/>
            <p:nvPr/>
          </p:nvSpPr>
          <p:spPr>
            <a:xfrm>
              <a:off x="9051487" y="5691188"/>
              <a:ext cx="230624" cy="10258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solidFill>
                  <a:schemeClr val="tx1"/>
                </a:solidFill>
              </a:endParaRPr>
            </a:p>
          </p:txBody>
        </p:sp>
        <p:sp>
          <p:nvSpPr>
            <p:cNvPr id="48" name="TextBox 47">
              <a:extLst>
                <a:ext uri="{FF2B5EF4-FFF2-40B4-BE49-F238E27FC236}">
                  <a16:creationId xmlns:a16="http://schemas.microsoft.com/office/drawing/2014/main" id="{5AF92173-7C9A-6038-7068-251E80A51830}"/>
                </a:ext>
              </a:extLst>
            </p:cNvPr>
            <p:cNvSpPr txBox="1"/>
            <p:nvPr/>
          </p:nvSpPr>
          <p:spPr>
            <a:xfrm>
              <a:off x="9313321" y="5700310"/>
              <a:ext cx="757778" cy="92333"/>
            </a:xfrm>
            <a:prstGeom prst="rect">
              <a:avLst/>
            </a:prstGeom>
            <a:noFill/>
          </p:spPr>
          <p:txBody>
            <a:bodyPr wrap="square" lIns="0" tIns="0" rIns="0" bIns="0" rtlCol="0">
              <a:spAutoFit/>
            </a:bodyPr>
            <a:lstStyle/>
            <a:p>
              <a:pPr algn="l"/>
              <a:r>
                <a:rPr lang="en-US" sz="600" dirty="0">
                  <a:latin typeface="+mj-lt"/>
                </a:rPr>
                <a:t>VXLAN encapsulation</a:t>
              </a:r>
            </a:p>
          </p:txBody>
        </p:sp>
      </p:grpSp>
      <p:sp>
        <p:nvSpPr>
          <p:cNvPr id="49" name="Rectangle 48">
            <a:extLst>
              <a:ext uri="{FF2B5EF4-FFF2-40B4-BE49-F238E27FC236}">
                <a16:creationId xmlns:a16="http://schemas.microsoft.com/office/drawing/2014/main" id="{DDDEECA6-71AE-E524-C383-3D6D638EAA57}"/>
              </a:ext>
            </a:extLst>
          </p:cNvPr>
          <p:cNvSpPr/>
          <p:nvPr/>
        </p:nvSpPr>
        <p:spPr>
          <a:xfrm>
            <a:off x="11321734" y="5186350"/>
            <a:ext cx="214312" cy="638175"/>
          </a:xfrm>
          <a:prstGeom prst="rect">
            <a:avLst/>
          </a:prstGeom>
          <a:solidFill>
            <a:srgbClr val="D2D2C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0" name="TextBox 49">
            <a:extLst>
              <a:ext uri="{FF2B5EF4-FFF2-40B4-BE49-F238E27FC236}">
                <a16:creationId xmlns:a16="http://schemas.microsoft.com/office/drawing/2014/main" id="{B584E2A7-51C5-B000-F460-D8971044BC7E}"/>
              </a:ext>
            </a:extLst>
          </p:cNvPr>
          <p:cNvSpPr txBox="1"/>
          <p:nvPr/>
        </p:nvSpPr>
        <p:spPr>
          <a:xfrm>
            <a:off x="6746333" y="5700310"/>
            <a:ext cx="659355" cy="92333"/>
          </a:xfrm>
          <a:prstGeom prst="rect">
            <a:avLst/>
          </a:prstGeom>
          <a:solidFill>
            <a:srgbClr val="D2D2C8"/>
          </a:solidFill>
        </p:spPr>
        <p:txBody>
          <a:bodyPr wrap="square" lIns="0" tIns="0" rIns="0" bIns="0" rtlCol="0">
            <a:spAutoFit/>
          </a:bodyPr>
          <a:lstStyle/>
          <a:p>
            <a:pPr algn="l"/>
            <a:r>
              <a:rPr lang="en-US" sz="600" dirty="0" err="1">
                <a:latin typeface="+mj-lt"/>
              </a:rPr>
              <a:t>Profinet</a:t>
            </a:r>
            <a:endParaRPr lang="en-US" sz="600" dirty="0">
              <a:latin typeface="+mj-lt"/>
            </a:endParaRPr>
          </a:p>
        </p:txBody>
      </p:sp>
    </p:spTree>
    <p:extLst>
      <p:ext uri="{BB962C8B-B14F-4D97-AF65-F5344CB8AC3E}">
        <p14:creationId xmlns:p14="http://schemas.microsoft.com/office/powerpoint/2010/main" val="780559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wD///////8DAAAAAgD///////////////////////////////////////////////////////////////////////////////////////////////////////////////////////////////////////////////////////////////////////////////////////////////////////////////////////////////////////////////////////////////////////////////////////////////////////////////////////////////////////////////////////////////////////////////////////////////////////////////////////////////////////////////////////////////////////////////////////////////8BACAA////////////////AAAO////////AwAAAAIA////////////////////////////////////////////////////////////////////////////////////////////////////////////////////////////////////////////////////////////////////////////////////////////////////////////////////////////////////////////////////////////////////////////////////////////////////////////////////////////////////////////////////////////////////////////////////////////////////////////////////////////////////////////////////////////////////////////////////////////////////////////////////////AgACAP///////wQAAAACABAACwPFeYwN0bZKlIrkcBhVfZwFAAAAAAADAAAAAwADAAAAAQADAAAAAAD///////8DAAEA////////BAAAAAMAEAALfPPUQjoTrk2H4nUs7pPTi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APFeYwN0bZKlIrkcBhVfZwDRGF0YQAbAAAABExpbmtlZFNoYXBlRGF0YQAFAAAAAAACTmFtZQAZAAAATGlua2VkU2hhcGVzRGF0YVByb3BlcnR5ABBWZXJzaW9uAAAAAAAJTGFzdFdyaXRlAMu7ZRF4AQAAAAEA/////50AnQAAAAVfaWQAEAAAAAR889RCOhOuTYfidSzuk9OLA0RhdGEAKgAAAAhQcmVzZW50YXRpb25TY2FubmVkRm9yTGlua2VkU2hhcGVzAAEAAk5hbWUAJAAAAExpbmtlZFNoYXBlUHJlc2VudGF0aW9uU2V0dGluZ3NEYXRhABBWZXJzaW9uAAAAAAAJTGFzdFdyaXRlAO+7ZRF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98AV2WkPxutxCJ8FvUQhw"/>
</p:tagLst>
</file>

<file path=ppt/tags/tag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xml><?xml version="1.0" encoding="utf-8"?>
<p:tagLst xmlns:a="http://schemas.openxmlformats.org/drawingml/2006/main" xmlns:r="http://schemas.openxmlformats.org/officeDocument/2006/relationships" xmlns:p="http://schemas.openxmlformats.org/presentationml/2006/main">
  <p:tag name="MIO_FALLBACK_LAYOUT" val="33"/>
  <p:tag name="MIO_SHOW_DATE" val="False"/>
  <p:tag name="MIO_SHOW_FOOTER" val="False"/>
  <p:tag name="MIO_SHOW_PAGENUMBER" val="False"/>
  <p:tag name="MIO_AVOID_BLANK_LAYOUT" val="True"/>
  <p:tag name="MIO_CD_LAYOUT_VALID_AREA" val="False"/>
  <p:tag name="MIO_NUMBER_OF_VALID_LAYOUTS" val="54"/>
  <p:tag name="MIO_HDS" val="True"/>
  <p:tag name="MIO_SKIPVERSION" val="01.01.0001 00:00:00"/>
  <p:tag name="MIO_EKGUID" val="bbb23fd9-77cd-4e33-b9ce-d20175e890b4"/>
  <p:tag name="MIO_UPDATE" val="True"/>
  <p:tag name="MIO_VERSION" val="08.03.2021 10:34:34"/>
  <p:tag name="MIO_DBID" val="90654431-81D8-474F-85F9-88ADAD5450B4"/>
  <p:tag name="MIO_LASTDOWNLOADED" val="28.01.2022 18:37:49.602"/>
  <p:tag name="MIO_OBJECTNAME" val="Siemens EN 2021"/>
  <p:tag name="MIO_CDID" val="565f59d9-9b99-4858-be74-3d65a0afb0f5"/>
</p:tagLst>
</file>

<file path=ppt/tags/tag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EYCXkz_ke3_kZ9jyLUedg"/>
</p:tagLst>
</file>

<file path=ppt/tags/tag27.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MIO_GUID" val="4721b25f-b902-43f4-9885-e0e8857b61a6"/>
  <p:tag name="CDT_TITLE1" val="Use Cases"/>
  <p:tag name="CDT_TITLE2" val=""/>
  <p:tag name="CDT_TITLE3" val=""/>
  <p:tag name="CDT_DESIGNS_NAME" val="7_Siemens 2016 – 16:9"/>
  <p:tag name="CDT_MASTERS_NAME" val="One object (small)"/>
  <p:tag name="CDT_LAYOUT_TYPE" val="16"/>
  <p:tag name="CDT_OLDSLIDEHIDDEN" val="False"/>
  <p:tag name="CDT_OLDSLIDEINDEX" val="28"/>
  <p:tag name="MIO_SLIDE_HAS_HYPERLINK" val="False"/>
  <p:tag name="MIO_EK_DESIGN" val="579030"/>
  <p:tag name="MIO_VERSION_DESIGN" val="27.01.2016 18:24:05"/>
  <p:tag name="MIO_DBID_DESIGN" val="598A5C07-C27D-430B-A8FC-FA667BE665A4"/>
  <p:tag name="CDT_INTERSECT_SLIDE" val="False"/>
  <p:tag name="CDT_NAVBARONTHISSLIDE" val="True"/>
  <p:tag name="MIO_EK" val="667198"/>
  <p:tag name="MIO_EKGUID" val="26300636-3abf-495b-b549-8d236f4daa6e"/>
  <p:tag name="MIO_UPDATE" val="True"/>
  <p:tag name="MIO_VERSION" val="08.08.2017 10:47:16"/>
  <p:tag name="MIO_DBID" val="598A5C07-C27D-430B-A8FC-FA667BE665A4"/>
  <p:tag name="MIO_LASTDOWNLOADED" val="08.08.2017 10:47:16"/>
  <p:tag name="MIO_OBJECTNAME" val="Produkt X Use Case „Anbindung von Industrial Ether"/>
  <p:tag name="MIO_LASTEDITORNAME" val="Gesine Schulz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n1wliYgf3YuDr6j_G2l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MIO_EK" val="667163"/>
  <p:tag name="MIO_STRING_IGNORE_CHECKSUM_FOR_NEXT_SAVE" val="False"/>
  <p:tag name="MIO_GUID" val="0c09aae4-88aa-40a6-b569-3a1c031b675b"/>
  <p:tag name="MIO_EKGUID" val="f63b5cab-f876-4765-a0c6-1994dc5b2c6f"/>
  <p:tag name="MIO_UPDATE" val="True"/>
  <p:tag name="MIO_VERSION" val="06.09.2018 15:46:05"/>
  <p:tag name="MIO_DBID" val="598A5C07-C27D-430B-A8FC-FA667BE665A4"/>
  <p:tag name="MIO_LASTDOWNLOADED" val="23.01.2019 14:14:53"/>
  <p:tag name="MIO_OBJECTNAME" val="Security information"/>
  <p:tag name="MIO_LASTEDITORNAME" val="Isabell Weiss"/>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p4ppTags>
  <Name>One object (large)</Name>
  <PpLayout>16</PpLayout>
  <Index>10</Index>
</p4ppTags>
</file>

<file path=customXml/itemProps1.xml><?xml version="1.0" encoding="utf-8"?>
<ds:datastoreItem xmlns:ds="http://schemas.openxmlformats.org/officeDocument/2006/customXml" ds:itemID="{353943DA-44C9-4A3F-8173-D958E144D2C6}">
  <ds:schemaRefs/>
</ds:datastoreItem>
</file>

<file path=docProps/app.xml><?xml version="1.0" encoding="utf-8"?>
<Properties xmlns="http://schemas.openxmlformats.org/officeDocument/2006/extended-properties" xmlns:vt="http://schemas.openxmlformats.org/officeDocument/2006/docPropsVTypes">
  <TotalTime>0</TotalTime>
  <Words>1550</Words>
  <Application>Microsoft Office PowerPoint</Application>
  <PresentationFormat>Widescreen</PresentationFormat>
  <Paragraphs>276</Paragraphs>
  <Slides>13</Slides>
  <Notes>13</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Wingdings</vt:lpstr>
      <vt:lpstr>Siemens 2020</vt:lpstr>
      <vt:lpstr>think-cell Folie</vt:lpstr>
      <vt:lpstr>Industrial 5G</vt:lpstr>
      <vt:lpstr>Potential industrial applications with Industrial 5G </vt:lpstr>
      <vt:lpstr>Classification of applications according to network requirements Factory and Process Automation</vt:lpstr>
      <vt:lpstr>Why can we only start with Release 16 in Industry?</vt:lpstr>
      <vt:lpstr>Which 5G infrastructure is right for your Industrial Automation?</vt:lpstr>
      <vt:lpstr>Siemens Industrial 5G End Devices based on Release 15  SCALANCE MUM856-1 direct mounted on a SIMOVE AGV</vt:lpstr>
      <vt:lpstr>5G Use Cases Connection of automated guided vehicle system to a private 5G network</vt:lpstr>
      <vt:lpstr>5G Use Cases Redundant connectivity to company infrastructure</vt:lpstr>
      <vt:lpstr>5G Use Cases Local area network connectivity over routing</vt:lpstr>
      <vt:lpstr>SCALANCE M with SINEMA Remote Connect Secure connection of remote machines via VPN</vt:lpstr>
      <vt:lpstr>Contact</vt:lpstr>
      <vt:lpstr>Security information</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AG PowerPoint Presentation</dc:title>
  <dc:creator>Baranska, Iwona (DI PA S&amp;V MK 3)</dc:creator>
  <cp:keywords>Template</cp:keywords>
  <dc:description>Version 3.2.0
January 2021
Short version</dc:description>
  <cp:lastModifiedBy>Kumpulainen, Teemu (RC-FI DI PA)</cp:lastModifiedBy>
  <cp:revision>115</cp:revision>
  <dcterms:created xsi:type="dcterms:W3CDTF">2020-07-27T12:43:17Z</dcterms:created>
  <dcterms:modified xsi:type="dcterms:W3CDTF">2023-04-14T10:3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59b6cd5-d141-4a33-8bf1-0ca04484304f_Enabled">
    <vt:lpwstr>true</vt:lpwstr>
  </property>
  <property fmtid="{D5CDD505-2E9C-101B-9397-08002B2CF9AE}" pid="3" name="MSIP_Label_a59b6cd5-d141-4a33-8bf1-0ca04484304f_SetDate">
    <vt:lpwstr>2022-06-28T12:37:53Z</vt:lpwstr>
  </property>
  <property fmtid="{D5CDD505-2E9C-101B-9397-08002B2CF9AE}" pid="4" name="MSIP_Label_a59b6cd5-d141-4a33-8bf1-0ca04484304f_Method">
    <vt:lpwstr>Standard</vt:lpwstr>
  </property>
  <property fmtid="{D5CDD505-2E9C-101B-9397-08002B2CF9AE}" pid="5" name="MSIP_Label_a59b6cd5-d141-4a33-8bf1-0ca04484304f_Name">
    <vt:lpwstr>restricted-default</vt:lpwstr>
  </property>
  <property fmtid="{D5CDD505-2E9C-101B-9397-08002B2CF9AE}" pid="6" name="MSIP_Label_a59b6cd5-d141-4a33-8bf1-0ca04484304f_SiteId">
    <vt:lpwstr>38ae3bcd-9579-4fd4-adda-b42e1495d55a</vt:lpwstr>
  </property>
  <property fmtid="{D5CDD505-2E9C-101B-9397-08002B2CF9AE}" pid="7" name="MSIP_Label_a59b6cd5-d141-4a33-8bf1-0ca04484304f_ActionId">
    <vt:lpwstr>a72a4cfd-3cd1-4582-94eb-5a33d3a90999</vt:lpwstr>
  </property>
  <property fmtid="{D5CDD505-2E9C-101B-9397-08002B2CF9AE}" pid="8" name="MSIP_Label_a59b6cd5-d141-4a33-8bf1-0ca04484304f_ContentBits">
    <vt:lpwstr>0</vt:lpwstr>
  </property>
  <property fmtid="{D5CDD505-2E9C-101B-9397-08002B2CF9AE}" pid="9" name="Document_Confidentiality">
    <vt:lpwstr>Restricted</vt:lpwstr>
  </property>
</Properties>
</file>